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7.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18.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1.xml" ContentType="application/vnd.openxmlformats-officedocument.drawingml.chartshape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60" r:id="rId1"/>
    <p:sldMasterId id="2147483695" r:id="rId2"/>
  </p:sldMasterIdLst>
  <p:notesMasterIdLst>
    <p:notesMasterId r:id="rId13"/>
  </p:notesMasterIdLst>
  <p:handoutMasterIdLst>
    <p:handoutMasterId r:id="rId14"/>
  </p:handoutMasterIdLst>
  <p:sldIdLst>
    <p:sldId id="264" r:id="rId3"/>
    <p:sldId id="363" r:id="rId4"/>
    <p:sldId id="356" r:id="rId5"/>
    <p:sldId id="357" r:id="rId6"/>
    <p:sldId id="359" r:id="rId7"/>
    <p:sldId id="360" r:id="rId8"/>
    <p:sldId id="361" r:id="rId9"/>
    <p:sldId id="358" r:id="rId10"/>
    <p:sldId id="274" r:id="rId11"/>
    <p:sldId id="362" r:id="rId12"/>
  </p:sldIdLst>
  <p:sldSz cx="9906000" cy="6858000" type="A4"/>
  <p:notesSz cx="7104063" cy="102346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7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616365"/>
    <a:srgbClr val="7B9AA9"/>
    <a:srgbClr val="CF7F7F"/>
    <a:srgbClr val="F5E7E8"/>
    <a:srgbClr val="FFC7CE"/>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2DE63D5-997A-4646-A377-4702673A728D}" styleName="Светлый стиль 2 — акцент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660B408-B3CF-4A94-85FC-2B1E0A45F4A2}" styleName="Темный стиль 2 — акцент 1/акцент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505E3EF-67EA-436B-97B2-0124C06EBD24}" styleName="Средний стиль 4 — акцент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31" autoAdjust="0"/>
    <p:restoredTop sz="94080" autoAdjust="0"/>
  </p:normalViewPr>
  <p:slideViewPr>
    <p:cSldViewPr snapToGrid="0">
      <p:cViewPr varScale="1">
        <p:scale>
          <a:sx n="111" d="100"/>
          <a:sy n="111" d="100"/>
        </p:scale>
        <p:origin x="492" y="114"/>
      </p:cViewPr>
      <p:guideLst>
        <p:guide pos="3732"/>
        <p:guide orient="horz" pos="216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_____Microsoft_Excel.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Excel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Excel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Excel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Excel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Excel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_____Microsoft_Excel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package" Target="../embeddings/_____Microsoft_Excel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Excel4.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Excel5.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Excel6.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Excel7.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Excel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7231093959874638E-2"/>
          <c:y val="7.7529963083084144E-2"/>
          <c:w val="0.92553781208025077"/>
          <c:h val="0.73870016049867804"/>
        </c:manualLayout>
      </c:layout>
      <c:barChart>
        <c:barDir val="col"/>
        <c:grouping val="clustered"/>
        <c:varyColors val="0"/>
        <c:ser>
          <c:idx val="0"/>
          <c:order val="0"/>
          <c:tx>
            <c:strRef>
              <c:f>Лист1!$A$46</c:f>
              <c:strCache>
                <c:ptCount val="1"/>
                <c:pt idx="0">
                  <c:v>MSCI KLD 400 Social Index</c:v>
                </c:pt>
              </c:strCache>
            </c:strRef>
          </c:tx>
          <c:spPr>
            <a:solidFill>
              <a:srgbClr val="C00000"/>
            </a:solidFill>
            <a:ln>
              <a:noFill/>
            </a:ln>
            <a:effectLst/>
          </c:spPr>
          <c:invertIfNegative val="0"/>
          <c:dLbls>
            <c:dLbl>
              <c:idx val="2"/>
              <c:spPr>
                <a:noFill/>
                <a:ln>
                  <a:noFill/>
                </a:ln>
                <a:effectLst/>
              </c:spPr>
              <c:txPr>
                <a:bodyPr rot="0" spcFirstLastPara="1" vertOverflow="ellipsis" vert="horz" wrap="square" lIns="38100" tIns="19050" rIns="38100" bIns="19050" anchor="ctr" anchorCtr="0">
                  <a:spAutoFit/>
                </a:bodyPr>
                <a:lstStyle/>
                <a:p>
                  <a:pPr algn="ctr">
                    <a:defRPr lang="ru-RU" sz="900" b="1" i="0" u="none" strike="noStrike" kern="1200" baseline="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6="http://schemas.microsoft.com/office/drawing/2014/chart" uri="{C3380CC4-5D6E-409C-BE32-E72D297353CC}">
                  <c16:uniqueId val="{00000000-9A59-432A-ADEA-38198CD77B0C}"/>
                </c:ext>
              </c:extLst>
            </c:dLbl>
            <c:spPr>
              <a:noFill/>
              <a:ln>
                <a:noFill/>
              </a:ln>
              <a:effectLst/>
            </c:spPr>
            <c:txPr>
              <a:bodyPr rot="0" spcFirstLastPara="1" vertOverflow="ellipsis" vert="horz" wrap="square" lIns="38100" tIns="19050" rIns="38100" bIns="19050" anchor="ctr" anchorCtr="0">
                <a:spAutoFit/>
              </a:bodyPr>
              <a:lstStyle/>
              <a:p>
                <a:pPr algn="ctr">
                  <a:defRPr lang="ru-RU" sz="900"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B$45:$F$45</c:f>
              <c:numCache>
                <c:formatCode>General</c:formatCode>
                <c:ptCount val="5"/>
                <c:pt idx="0">
                  <c:v>2013</c:v>
                </c:pt>
                <c:pt idx="1">
                  <c:v>2014</c:v>
                </c:pt>
                <c:pt idx="2">
                  <c:v>2015</c:v>
                </c:pt>
                <c:pt idx="3">
                  <c:v>2016</c:v>
                </c:pt>
                <c:pt idx="4">
                  <c:v>2017</c:v>
                </c:pt>
              </c:numCache>
            </c:numRef>
          </c:cat>
          <c:val>
            <c:numRef>
              <c:f>Лист1!$B$46:$F$46</c:f>
              <c:numCache>
                <c:formatCode>General</c:formatCode>
                <c:ptCount val="5"/>
                <c:pt idx="0">
                  <c:v>32.4</c:v>
                </c:pt>
                <c:pt idx="1">
                  <c:v>13.7</c:v>
                </c:pt>
                <c:pt idx="2">
                  <c:v>1.4</c:v>
                </c:pt>
                <c:pt idx="3">
                  <c:v>11.9</c:v>
                </c:pt>
                <c:pt idx="4">
                  <c:v>21.8</c:v>
                </c:pt>
              </c:numCache>
            </c:numRef>
          </c:val>
          <c:extLst>
            <c:ext xmlns:c16="http://schemas.microsoft.com/office/drawing/2014/chart" uri="{C3380CC4-5D6E-409C-BE32-E72D297353CC}">
              <c16:uniqueId val="{00000001-2F41-4958-9F56-DEE0DDBF8974}"/>
            </c:ext>
          </c:extLst>
        </c:ser>
        <c:ser>
          <c:idx val="1"/>
          <c:order val="1"/>
          <c:tx>
            <c:strRef>
              <c:f>Лист1!$A$47</c:f>
              <c:strCache>
                <c:ptCount val="1"/>
                <c:pt idx="0">
                  <c:v>S&amp;P500 Index</c:v>
                </c:pt>
              </c:strCache>
            </c:strRef>
          </c:tx>
          <c:spPr>
            <a:solidFill>
              <a:srgbClr val="616365"/>
            </a:solidFill>
            <a:ln>
              <a:noFill/>
            </a:ln>
            <a:effectLst/>
          </c:spPr>
          <c:invertIfNegative val="0"/>
          <c:dLbls>
            <c:dLbl>
              <c:idx val="2"/>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ru-RU"/>
                </a:p>
              </c:txPr>
              <c:dLblPos val="ctr"/>
              <c:showLegendKey val="0"/>
              <c:showVal val="1"/>
              <c:showCatName val="0"/>
              <c:showSerName val="0"/>
              <c:showPercent val="0"/>
              <c:showBubbleSize val="0"/>
              <c:extLst>
                <c:ext xmlns:c16="http://schemas.microsoft.com/office/drawing/2014/chart" uri="{C3380CC4-5D6E-409C-BE32-E72D297353CC}">
                  <c16:uniqueId val="{00000001-9A59-432A-ADEA-38198CD77B0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ru-RU"/>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B$45:$F$45</c:f>
              <c:numCache>
                <c:formatCode>General</c:formatCode>
                <c:ptCount val="5"/>
                <c:pt idx="0">
                  <c:v>2013</c:v>
                </c:pt>
                <c:pt idx="1">
                  <c:v>2014</c:v>
                </c:pt>
                <c:pt idx="2">
                  <c:v>2015</c:v>
                </c:pt>
                <c:pt idx="3">
                  <c:v>2016</c:v>
                </c:pt>
                <c:pt idx="4">
                  <c:v>2017</c:v>
                </c:pt>
              </c:numCache>
            </c:numRef>
          </c:cat>
          <c:val>
            <c:numRef>
              <c:f>Лист1!$B$47:$F$47</c:f>
              <c:numCache>
                <c:formatCode>General</c:formatCode>
                <c:ptCount val="5"/>
                <c:pt idx="0">
                  <c:v>36.200000000000003</c:v>
                </c:pt>
                <c:pt idx="1">
                  <c:v>12.7</c:v>
                </c:pt>
                <c:pt idx="2">
                  <c:v>0.9</c:v>
                </c:pt>
                <c:pt idx="3">
                  <c:v>10.9</c:v>
                </c:pt>
                <c:pt idx="4">
                  <c:v>21.6</c:v>
                </c:pt>
              </c:numCache>
            </c:numRef>
          </c:val>
          <c:extLst>
            <c:ext xmlns:c16="http://schemas.microsoft.com/office/drawing/2014/chart" uri="{C3380CC4-5D6E-409C-BE32-E72D297353CC}">
              <c16:uniqueId val="{00000003-2F41-4958-9F56-DEE0DDBF8974}"/>
            </c:ext>
          </c:extLst>
        </c:ser>
        <c:dLbls>
          <c:showLegendKey val="0"/>
          <c:showVal val="0"/>
          <c:showCatName val="0"/>
          <c:showSerName val="0"/>
          <c:showPercent val="0"/>
          <c:showBubbleSize val="0"/>
        </c:dLbls>
        <c:gapWidth val="65"/>
        <c:overlap val="-6"/>
        <c:axId val="279966808"/>
        <c:axId val="279967200"/>
      </c:barChart>
      <c:catAx>
        <c:axId val="279966808"/>
        <c:scaling>
          <c:orientation val="minMax"/>
        </c:scaling>
        <c:delete val="0"/>
        <c:axPos val="b"/>
        <c:numFmt formatCode="General" sourceLinked="1"/>
        <c:majorTickMark val="out"/>
        <c:minorTickMark val="none"/>
        <c:tickLblPos val="nextTo"/>
        <c:spPr>
          <a:noFill/>
          <a:ln w="6350" cap="flat" cmpd="sng" algn="ctr">
            <a:solidFill>
              <a:srgbClr val="000000"/>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ru-RU"/>
          </a:p>
        </c:txPr>
        <c:crossAx val="279967200"/>
        <c:crosses val="autoZero"/>
        <c:auto val="1"/>
        <c:lblAlgn val="ctr"/>
        <c:lblOffset val="100"/>
        <c:noMultiLvlLbl val="0"/>
      </c:catAx>
      <c:valAx>
        <c:axId val="279967200"/>
        <c:scaling>
          <c:orientation val="minMax"/>
        </c:scaling>
        <c:delete val="1"/>
        <c:axPos val="l"/>
        <c:numFmt formatCode="General" sourceLinked="1"/>
        <c:majorTickMark val="none"/>
        <c:minorTickMark val="none"/>
        <c:tickLblPos val="nextTo"/>
        <c:crossAx val="279966808"/>
        <c:crosses val="autoZero"/>
        <c:crossBetween val="between"/>
      </c:valAx>
      <c:spPr>
        <a:noFill/>
        <a:ln>
          <a:noFill/>
        </a:ln>
        <a:effectLst/>
      </c:spPr>
    </c:plotArea>
    <c:legend>
      <c:legendPos val="b"/>
      <c:layout>
        <c:manualLayout>
          <c:xMode val="edge"/>
          <c:yMode val="edge"/>
          <c:x val="0.60203984819734346"/>
          <c:y val="8.0646145922823001E-2"/>
          <c:w val="0.37964629128200755"/>
          <c:h val="0.21900077918445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ru-RU"/>
        </a:p>
      </c:txPr>
    </c:legend>
    <c:plotVisOnly val="1"/>
    <c:dispBlanksAs val="gap"/>
    <c:showDLblsOverMax val="0"/>
  </c:chart>
  <c:spPr>
    <a:noFill/>
    <a:ln w="9525" cap="flat" cmpd="sng" algn="ctr">
      <a:noFill/>
      <a:round/>
    </a:ln>
    <a:effectLst/>
  </c:spPr>
  <c:txPr>
    <a:bodyPr/>
    <a:lstStyle/>
    <a:p>
      <a:pPr>
        <a:defRPr/>
      </a:pPr>
      <a:endParaRPr lang="ru-RU"/>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D663-46CB-9E87-4B695A15FC6B}"/>
              </c:ext>
            </c:extLst>
          </c:dPt>
          <c:val>
            <c:numRef>
              <c:f>Sheet1!$A$1:$B$1</c:f>
              <c:numCache>
                <c:formatCode>General</c:formatCode>
                <c:ptCount val="2"/>
                <c:pt idx="0">
                  <c:v>13.8</c:v>
                </c:pt>
                <c:pt idx="1">
                  <c:v>13.32</c:v>
                </c:pt>
              </c:numCache>
            </c:numRef>
          </c:val>
          <c:extLst>
            <c:ext xmlns:c16="http://schemas.microsoft.com/office/drawing/2014/chart" uri="{C3380CC4-5D6E-409C-BE32-E72D297353CC}">
              <c16:uniqueId val="{00000002-D663-46CB-9E87-4B695A15FC6B}"/>
            </c:ext>
          </c:extLst>
        </c:ser>
        <c:dLbls>
          <c:showLegendKey val="0"/>
          <c:showVal val="0"/>
          <c:showCatName val="0"/>
          <c:showSerName val="0"/>
          <c:showPercent val="0"/>
          <c:showBubbleSize val="0"/>
        </c:dLbls>
        <c:gapWidth val="80"/>
        <c:overlap val="100"/>
        <c:axId val="282162376"/>
        <c:axId val="281911744"/>
      </c:barChart>
      <c:catAx>
        <c:axId val="28216237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1911744"/>
        <c:crosses val="min"/>
        <c:auto val="0"/>
        <c:lblAlgn val="ctr"/>
        <c:lblOffset val="100"/>
        <c:noMultiLvlLbl val="0"/>
      </c:catAx>
      <c:valAx>
        <c:axId val="281911744"/>
        <c:scaling>
          <c:orientation val="minMax"/>
          <c:max val="13.8"/>
          <c:min val="12.5"/>
        </c:scaling>
        <c:delete val="1"/>
        <c:axPos val="l"/>
        <c:numFmt formatCode="General" sourceLinked="1"/>
        <c:majorTickMark val="out"/>
        <c:minorTickMark val="none"/>
        <c:tickLblPos val="nextTo"/>
        <c:crossAx val="28216237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B6FE-49C1-8FB4-D9759CF9B640}"/>
              </c:ext>
            </c:extLst>
          </c:dPt>
          <c:val>
            <c:numRef>
              <c:f>Sheet1!$A$1:$B$1</c:f>
              <c:numCache>
                <c:formatCode>General</c:formatCode>
                <c:ptCount val="2"/>
                <c:pt idx="0">
                  <c:v>25.51</c:v>
                </c:pt>
                <c:pt idx="1">
                  <c:v>25.84</c:v>
                </c:pt>
              </c:numCache>
            </c:numRef>
          </c:val>
          <c:extLst>
            <c:ext xmlns:c16="http://schemas.microsoft.com/office/drawing/2014/chart" uri="{C3380CC4-5D6E-409C-BE32-E72D297353CC}">
              <c16:uniqueId val="{00000002-B6FE-49C1-8FB4-D9759CF9B640}"/>
            </c:ext>
          </c:extLst>
        </c:ser>
        <c:dLbls>
          <c:showLegendKey val="0"/>
          <c:showVal val="0"/>
          <c:showCatName val="0"/>
          <c:showSerName val="0"/>
          <c:showPercent val="0"/>
          <c:showBubbleSize val="0"/>
        </c:dLbls>
        <c:gapWidth val="80"/>
        <c:overlap val="100"/>
        <c:axId val="281912528"/>
        <c:axId val="281912920"/>
      </c:barChart>
      <c:catAx>
        <c:axId val="28191252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1912920"/>
        <c:crosses val="min"/>
        <c:auto val="0"/>
        <c:lblAlgn val="ctr"/>
        <c:lblOffset val="100"/>
        <c:noMultiLvlLbl val="0"/>
      </c:catAx>
      <c:valAx>
        <c:axId val="281912920"/>
        <c:scaling>
          <c:orientation val="minMax"/>
          <c:max val="25.84"/>
          <c:min val="24.5"/>
        </c:scaling>
        <c:delete val="1"/>
        <c:axPos val="l"/>
        <c:numFmt formatCode="General" sourceLinked="1"/>
        <c:majorTickMark val="out"/>
        <c:minorTickMark val="none"/>
        <c:tickLblPos val="nextTo"/>
        <c:crossAx val="281912528"/>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EAF1-4258-A001-DCA253DA987B}"/>
              </c:ext>
            </c:extLst>
          </c:dPt>
          <c:val>
            <c:numRef>
              <c:f>Sheet1!$A$1:$B$1</c:f>
              <c:numCache>
                <c:formatCode>General</c:formatCode>
                <c:ptCount val="2"/>
                <c:pt idx="0">
                  <c:v>3.49</c:v>
                </c:pt>
                <c:pt idx="1">
                  <c:v>3.39</c:v>
                </c:pt>
              </c:numCache>
            </c:numRef>
          </c:val>
          <c:extLst>
            <c:ext xmlns:c16="http://schemas.microsoft.com/office/drawing/2014/chart" uri="{C3380CC4-5D6E-409C-BE32-E72D297353CC}">
              <c16:uniqueId val="{00000002-EAF1-4258-A001-DCA253DA987B}"/>
            </c:ext>
          </c:extLst>
        </c:ser>
        <c:dLbls>
          <c:showLegendKey val="0"/>
          <c:showVal val="0"/>
          <c:showCatName val="0"/>
          <c:showSerName val="0"/>
          <c:showPercent val="0"/>
          <c:showBubbleSize val="0"/>
        </c:dLbls>
        <c:gapWidth val="80"/>
        <c:overlap val="100"/>
        <c:axId val="282455088"/>
        <c:axId val="282455480"/>
      </c:barChart>
      <c:catAx>
        <c:axId val="28245508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2455480"/>
        <c:crosses val="min"/>
        <c:auto val="0"/>
        <c:lblAlgn val="ctr"/>
        <c:lblOffset val="100"/>
        <c:noMultiLvlLbl val="0"/>
      </c:catAx>
      <c:valAx>
        <c:axId val="282455480"/>
        <c:scaling>
          <c:orientation val="minMax"/>
          <c:max val="3.49"/>
          <c:min val="0"/>
        </c:scaling>
        <c:delete val="1"/>
        <c:axPos val="l"/>
        <c:numFmt formatCode="General" sourceLinked="1"/>
        <c:majorTickMark val="out"/>
        <c:minorTickMark val="none"/>
        <c:tickLblPos val="nextTo"/>
        <c:crossAx val="28245508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00B3-4191-A26C-A92AFA2D4073}"/>
              </c:ext>
            </c:extLst>
          </c:dPt>
          <c:val>
            <c:numRef>
              <c:f>Sheet1!$A$1:$B$1</c:f>
              <c:numCache>
                <c:formatCode>General</c:formatCode>
                <c:ptCount val="2"/>
                <c:pt idx="0">
                  <c:v>16.739999999999998</c:v>
                </c:pt>
                <c:pt idx="1">
                  <c:v>16.86</c:v>
                </c:pt>
              </c:numCache>
            </c:numRef>
          </c:val>
          <c:extLst>
            <c:ext xmlns:c16="http://schemas.microsoft.com/office/drawing/2014/chart" uri="{C3380CC4-5D6E-409C-BE32-E72D297353CC}">
              <c16:uniqueId val="{00000002-00B3-4191-A26C-A92AFA2D4073}"/>
            </c:ext>
          </c:extLst>
        </c:ser>
        <c:dLbls>
          <c:showLegendKey val="0"/>
          <c:showVal val="0"/>
          <c:showCatName val="0"/>
          <c:showSerName val="0"/>
          <c:showPercent val="0"/>
          <c:showBubbleSize val="0"/>
        </c:dLbls>
        <c:gapWidth val="80"/>
        <c:overlap val="100"/>
        <c:axId val="282456264"/>
        <c:axId val="282456656"/>
      </c:barChart>
      <c:catAx>
        <c:axId val="28245626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2456656"/>
        <c:crosses val="min"/>
        <c:auto val="0"/>
        <c:lblAlgn val="ctr"/>
        <c:lblOffset val="100"/>
        <c:noMultiLvlLbl val="0"/>
      </c:catAx>
      <c:valAx>
        <c:axId val="282456656"/>
        <c:scaling>
          <c:orientation val="minMax"/>
          <c:max val="16.86"/>
          <c:min val="15.5"/>
        </c:scaling>
        <c:delete val="1"/>
        <c:axPos val="l"/>
        <c:numFmt formatCode="General" sourceLinked="1"/>
        <c:majorTickMark val="out"/>
        <c:minorTickMark val="none"/>
        <c:tickLblPos val="nextTo"/>
        <c:crossAx val="28245626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8B35-4525-8E66-89F3B20AF4E2}"/>
              </c:ext>
            </c:extLst>
          </c:dPt>
          <c:val>
            <c:numRef>
              <c:f>Sheet1!$A$1:$B$1</c:f>
              <c:numCache>
                <c:formatCode>General</c:formatCode>
                <c:ptCount val="2"/>
                <c:pt idx="0">
                  <c:v>21.19</c:v>
                </c:pt>
                <c:pt idx="1">
                  <c:v>21.7</c:v>
                </c:pt>
              </c:numCache>
            </c:numRef>
          </c:val>
          <c:extLst>
            <c:ext xmlns:c16="http://schemas.microsoft.com/office/drawing/2014/chart" uri="{C3380CC4-5D6E-409C-BE32-E72D297353CC}">
              <c16:uniqueId val="{00000002-8B35-4525-8E66-89F3B20AF4E2}"/>
            </c:ext>
          </c:extLst>
        </c:ser>
        <c:dLbls>
          <c:showLegendKey val="0"/>
          <c:showVal val="0"/>
          <c:showCatName val="0"/>
          <c:showSerName val="0"/>
          <c:showPercent val="0"/>
          <c:showBubbleSize val="0"/>
        </c:dLbls>
        <c:gapWidth val="80"/>
        <c:overlap val="100"/>
        <c:axId val="282457440"/>
        <c:axId val="282457832"/>
      </c:barChart>
      <c:catAx>
        <c:axId val="28245744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2457832"/>
        <c:crosses val="min"/>
        <c:auto val="0"/>
        <c:lblAlgn val="ctr"/>
        <c:lblOffset val="100"/>
        <c:noMultiLvlLbl val="0"/>
      </c:catAx>
      <c:valAx>
        <c:axId val="282457832"/>
        <c:scaling>
          <c:orientation val="minMax"/>
          <c:max val="21.7"/>
          <c:min val="19.5"/>
        </c:scaling>
        <c:delete val="1"/>
        <c:axPos val="l"/>
        <c:numFmt formatCode="General" sourceLinked="1"/>
        <c:majorTickMark val="out"/>
        <c:minorTickMark val="none"/>
        <c:tickLblPos val="nextTo"/>
        <c:crossAx val="282457440"/>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F927-4843-B074-549C7CEFD691}"/>
              </c:ext>
            </c:extLst>
          </c:dPt>
          <c:val>
            <c:numRef>
              <c:f>Sheet1!$A$1:$B$1</c:f>
              <c:numCache>
                <c:formatCode>General</c:formatCode>
                <c:ptCount val="2"/>
                <c:pt idx="0">
                  <c:v>1.84</c:v>
                </c:pt>
                <c:pt idx="1">
                  <c:v>1.87</c:v>
                </c:pt>
              </c:numCache>
            </c:numRef>
          </c:val>
          <c:extLst>
            <c:ext xmlns:c16="http://schemas.microsoft.com/office/drawing/2014/chart" uri="{C3380CC4-5D6E-409C-BE32-E72D297353CC}">
              <c16:uniqueId val="{00000002-F927-4843-B074-549C7CEFD691}"/>
            </c:ext>
          </c:extLst>
        </c:ser>
        <c:dLbls>
          <c:showLegendKey val="0"/>
          <c:showVal val="0"/>
          <c:showCatName val="0"/>
          <c:showSerName val="0"/>
          <c:showPercent val="0"/>
          <c:showBubbleSize val="0"/>
        </c:dLbls>
        <c:gapWidth val="80"/>
        <c:overlap val="100"/>
        <c:axId val="282458616"/>
        <c:axId val="282259008"/>
      </c:barChart>
      <c:catAx>
        <c:axId val="28245861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2259008"/>
        <c:crosses val="min"/>
        <c:auto val="0"/>
        <c:lblAlgn val="ctr"/>
        <c:lblOffset val="100"/>
        <c:noMultiLvlLbl val="0"/>
      </c:catAx>
      <c:valAx>
        <c:axId val="282259008"/>
        <c:scaling>
          <c:orientation val="minMax"/>
          <c:max val="1.87"/>
          <c:min val="1.5"/>
        </c:scaling>
        <c:delete val="1"/>
        <c:axPos val="l"/>
        <c:numFmt formatCode="General" sourceLinked="1"/>
        <c:majorTickMark val="out"/>
        <c:minorTickMark val="none"/>
        <c:tickLblPos val="nextTo"/>
        <c:crossAx val="282458616"/>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F7DD-45FA-9B10-91B8B9D92FC2}"/>
              </c:ext>
            </c:extLst>
          </c:dPt>
          <c:val>
            <c:numRef>
              <c:f>Sheet1!$A$1:$B$1</c:f>
              <c:numCache>
                <c:formatCode>General</c:formatCode>
                <c:ptCount val="2"/>
                <c:pt idx="0">
                  <c:v>22.75</c:v>
                </c:pt>
                <c:pt idx="1">
                  <c:v>23.06</c:v>
                </c:pt>
              </c:numCache>
            </c:numRef>
          </c:val>
          <c:extLst>
            <c:ext xmlns:c16="http://schemas.microsoft.com/office/drawing/2014/chart" uri="{C3380CC4-5D6E-409C-BE32-E72D297353CC}">
              <c16:uniqueId val="{00000002-F7DD-45FA-9B10-91B8B9D92FC2}"/>
            </c:ext>
          </c:extLst>
        </c:ser>
        <c:dLbls>
          <c:showLegendKey val="0"/>
          <c:showVal val="0"/>
          <c:showCatName val="0"/>
          <c:showSerName val="0"/>
          <c:showPercent val="0"/>
          <c:showBubbleSize val="0"/>
        </c:dLbls>
        <c:gapWidth val="80"/>
        <c:overlap val="100"/>
        <c:axId val="282259792"/>
        <c:axId val="282260184"/>
      </c:barChart>
      <c:catAx>
        <c:axId val="28225979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2260184"/>
        <c:crosses val="min"/>
        <c:auto val="0"/>
        <c:lblAlgn val="ctr"/>
        <c:lblOffset val="100"/>
        <c:noMultiLvlLbl val="0"/>
      </c:catAx>
      <c:valAx>
        <c:axId val="282260184"/>
        <c:scaling>
          <c:orientation val="minMax"/>
          <c:max val="23.06"/>
          <c:min val="21"/>
        </c:scaling>
        <c:delete val="1"/>
        <c:axPos val="l"/>
        <c:numFmt formatCode="General" sourceLinked="1"/>
        <c:majorTickMark val="out"/>
        <c:minorTickMark val="none"/>
        <c:tickLblPos val="nextTo"/>
        <c:crossAx val="282259792"/>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99720599441199"/>
          <c:y val="6.6831624254047303E-2"/>
          <c:w val="0.7316806366946067"/>
          <c:h val="0.64002294060320475"/>
        </c:manualLayout>
      </c:layout>
      <c:barChart>
        <c:barDir val="bar"/>
        <c:grouping val="percentStacked"/>
        <c:varyColors val="0"/>
        <c:ser>
          <c:idx val="0"/>
          <c:order val="0"/>
          <c:tx>
            <c:strRef>
              <c:f>секторы!$C$2</c:f>
              <c:strCache>
                <c:ptCount val="1"/>
                <c:pt idx="0">
                  <c:v>Энергоресурсы (Нефть и газ)</c:v>
                </c:pt>
              </c:strCache>
            </c:strRef>
          </c:tx>
          <c:spPr>
            <a:solidFill>
              <a:srgbClr val="616365"/>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C$4:$C$6</c:f>
              <c:numCache>
                <c:formatCode>0.0%</c:formatCode>
                <c:ptCount val="3"/>
                <c:pt idx="0">
                  <c:v>0.51046999999999998</c:v>
                </c:pt>
                <c:pt idx="1">
                  <c:v>0.58076500647708484</c:v>
                </c:pt>
                <c:pt idx="2">
                  <c:v>0.23678160919540225</c:v>
                </c:pt>
              </c:numCache>
            </c:numRef>
          </c:val>
          <c:extLst>
            <c:ext xmlns:c16="http://schemas.microsoft.com/office/drawing/2014/chart" uri="{C3380CC4-5D6E-409C-BE32-E72D297353CC}">
              <c16:uniqueId val="{00000000-88C3-4653-9032-ACB5C3CCD687}"/>
            </c:ext>
          </c:extLst>
        </c:ser>
        <c:ser>
          <c:idx val="1"/>
          <c:order val="1"/>
          <c:tx>
            <c:strRef>
              <c:f>секторы!$D$2</c:f>
              <c:strCache>
                <c:ptCount val="1"/>
                <c:pt idx="0">
                  <c:v>Финансы</c:v>
                </c:pt>
              </c:strCache>
            </c:strRef>
          </c:tx>
          <c:spPr>
            <a:solidFill>
              <a:srgbClr val="616365">
                <a:alpha val="54000"/>
              </a:srgbClr>
            </a:solidFill>
            <a:ln>
              <a:noFill/>
            </a:ln>
            <a:effectLst/>
          </c:spPr>
          <c:invertIfNegative val="0"/>
          <c:dLbls>
            <c:dLbl>
              <c:idx val="2"/>
              <c:layout>
                <c:manualLayout>
                  <c:x val="1.6393842575996756E-3"/>
                  <c:y val="-2.6228563523333548E-17"/>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88C3-4653-9032-ACB5C3CCD68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D$4:$D$6</c:f>
              <c:numCache>
                <c:formatCode>0.0%</c:formatCode>
                <c:ptCount val="3"/>
                <c:pt idx="0">
                  <c:v>0.18248999999999999</c:v>
                </c:pt>
                <c:pt idx="1">
                  <c:v>0.15000000932074908</c:v>
                </c:pt>
                <c:pt idx="2">
                  <c:v>5.7471264367816077E-2</c:v>
                </c:pt>
              </c:numCache>
            </c:numRef>
          </c:val>
          <c:extLst>
            <c:ext xmlns:c16="http://schemas.microsoft.com/office/drawing/2014/chart" uri="{C3380CC4-5D6E-409C-BE32-E72D297353CC}">
              <c16:uniqueId val="{00000002-88C3-4653-9032-ACB5C3CCD687}"/>
            </c:ext>
          </c:extLst>
        </c:ser>
        <c:ser>
          <c:idx val="2"/>
          <c:order val="2"/>
          <c:tx>
            <c:strRef>
              <c:f>секторы!$E$2</c:f>
              <c:strCache>
                <c:ptCount val="1"/>
                <c:pt idx="0">
                  <c:v>Металлы и добыча</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E$4:$E$6</c:f>
              <c:numCache>
                <c:formatCode>0.0%</c:formatCode>
                <c:ptCount val="3"/>
                <c:pt idx="0">
                  <c:v>0.14729999999999999</c:v>
                </c:pt>
                <c:pt idx="1">
                  <c:v>0.18442437241627507</c:v>
                </c:pt>
                <c:pt idx="2">
                  <c:v>0.34942528735632172</c:v>
                </c:pt>
              </c:numCache>
            </c:numRef>
          </c:val>
          <c:extLst>
            <c:ext xmlns:c16="http://schemas.microsoft.com/office/drawing/2014/chart" uri="{C3380CC4-5D6E-409C-BE32-E72D297353CC}">
              <c16:uniqueId val="{00000003-88C3-4653-9032-ACB5C3CCD687}"/>
            </c:ext>
          </c:extLst>
        </c:ser>
        <c:ser>
          <c:idx val="3"/>
          <c:order val="3"/>
          <c:tx>
            <c:strRef>
              <c:f>секторы!$F$2</c:f>
              <c:strCache>
                <c:ptCount val="1"/>
                <c:pt idx="0">
                  <c:v>Потребительский сектор</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F$4:$F$6</c:f>
              <c:numCache>
                <c:formatCode>General</c:formatCode>
                <c:ptCount val="3"/>
                <c:pt idx="0" formatCode="0.0%">
                  <c:v>8.0380000000000007E-2</c:v>
                </c:pt>
              </c:numCache>
            </c:numRef>
          </c:val>
          <c:extLst>
            <c:ext xmlns:c16="http://schemas.microsoft.com/office/drawing/2014/chart" uri="{C3380CC4-5D6E-409C-BE32-E72D297353CC}">
              <c16:uniqueId val="{00000004-88C3-4653-9032-ACB5C3CCD687}"/>
            </c:ext>
          </c:extLst>
        </c:ser>
        <c:ser>
          <c:idx val="4"/>
          <c:order val="4"/>
          <c:tx>
            <c:strRef>
              <c:f>секторы!$G$2</c:f>
              <c:strCache>
                <c:ptCount val="1"/>
                <c:pt idx="0">
                  <c:v>Телекоммуникации</c:v>
                </c:pt>
              </c:strCache>
            </c:strRef>
          </c:tx>
          <c:spPr>
            <a:solidFill>
              <a:srgbClr val="A2AD00"/>
            </a:solidFill>
            <a:ln>
              <a:noFill/>
            </a:ln>
            <a:effectLst/>
          </c:spPr>
          <c:invertIfNegative val="0"/>
          <c:dLbls>
            <c:dLbl>
              <c:idx val="0"/>
              <c:layout>
                <c:manualLayout>
                  <c:x val="1.1150935882118677E-2"/>
                  <c:y val="-4.2194092827004996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88C3-4653-9032-ACB5C3CCD687}"/>
                </c:ext>
              </c:extLst>
            </c:dLbl>
            <c:dLbl>
              <c:idx val="1"/>
              <c:layout>
                <c:manualLayout>
                  <c:x val="7.7687109775603202E-5"/>
                  <c:y val="-4.2194492095742383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88C3-4653-9032-ACB5C3CCD687}"/>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G$4:$G$6</c:f>
              <c:numCache>
                <c:formatCode>0.0%</c:formatCode>
                <c:ptCount val="3"/>
                <c:pt idx="0">
                  <c:v>3.0710000000000001E-2</c:v>
                </c:pt>
                <c:pt idx="1">
                  <c:v>5.087478562072914E-2</c:v>
                </c:pt>
                <c:pt idx="2">
                  <c:v>0.11494252873563217</c:v>
                </c:pt>
              </c:numCache>
            </c:numRef>
          </c:val>
          <c:extLst>
            <c:ext xmlns:c16="http://schemas.microsoft.com/office/drawing/2014/chart" uri="{C3380CC4-5D6E-409C-BE32-E72D297353CC}">
              <c16:uniqueId val="{00000007-88C3-4653-9032-ACB5C3CCD687}"/>
            </c:ext>
          </c:extLst>
        </c:ser>
        <c:ser>
          <c:idx val="5"/>
          <c:order val="5"/>
          <c:tx>
            <c:strRef>
              <c:f>секторы!$H$2</c:f>
              <c:strCache>
                <c:ptCount val="1"/>
                <c:pt idx="0">
                  <c:v>Электроэнергетика</c:v>
                </c:pt>
              </c:strCache>
            </c:strRef>
          </c:tx>
          <c:spPr>
            <a:solidFill>
              <a:srgbClr val="63B1E5"/>
            </a:solidFill>
            <a:ln>
              <a:noFill/>
            </a:ln>
            <a:effectLst/>
          </c:spPr>
          <c:invertIfNegative val="0"/>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H$4:$H$6</c:f>
              <c:numCache>
                <c:formatCode>0.0%</c:formatCode>
                <c:ptCount val="3"/>
                <c:pt idx="0">
                  <c:v>2.5519999999999998E-2</c:v>
                </c:pt>
                <c:pt idx="1">
                  <c:v>2.86782263555771E-2</c:v>
                </c:pt>
                <c:pt idx="2">
                  <c:v>7.5862068965517226E-2</c:v>
                </c:pt>
              </c:numCache>
            </c:numRef>
          </c:val>
          <c:extLst>
            <c:ext xmlns:c16="http://schemas.microsoft.com/office/drawing/2014/chart" uri="{C3380CC4-5D6E-409C-BE32-E72D297353CC}">
              <c16:uniqueId val="{00000008-88C3-4653-9032-ACB5C3CCD687}"/>
            </c:ext>
          </c:extLst>
        </c:ser>
        <c:ser>
          <c:idx val="6"/>
          <c:order val="6"/>
          <c:tx>
            <c:strRef>
              <c:f>секторы!$J$2</c:f>
              <c:strCache>
                <c:ptCount val="1"/>
                <c:pt idx="0">
                  <c:v>Транспорт</c:v>
                </c:pt>
              </c:strCache>
            </c:strRef>
          </c:tx>
          <c:spPr>
            <a:solidFill>
              <a:srgbClr val="7B9AA9"/>
            </a:solidFill>
            <a:ln>
              <a:noFill/>
            </a:ln>
            <a:effectLst/>
          </c:spPr>
          <c:invertIfNegative val="0"/>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I$4:$I$6</c:f>
              <c:numCache>
                <c:formatCode>0.0%</c:formatCode>
                <c:ptCount val="3"/>
                <c:pt idx="0">
                  <c:v>8.4499999999999992E-3</c:v>
                </c:pt>
                <c:pt idx="1">
                  <c:v>9.9342350386784134E-4</c:v>
                </c:pt>
                <c:pt idx="2">
                  <c:v>5.057471264367816E-2</c:v>
                </c:pt>
              </c:numCache>
            </c:numRef>
          </c:val>
          <c:extLst>
            <c:ext xmlns:c16="http://schemas.microsoft.com/office/drawing/2014/chart" uri="{C3380CC4-5D6E-409C-BE32-E72D297353CC}">
              <c16:uniqueId val="{00000009-88C3-4653-9032-ACB5C3CCD687}"/>
            </c:ext>
          </c:extLst>
        </c:ser>
        <c:ser>
          <c:idx val="7"/>
          <c:order val="7"/>
          <c:tx>
            <c:strRef>
              <c:f>секторы!$I$2</c:f>
              <c:strCache>
                <c:ptCount val="1"/>
                <c:pt idx="0">
                  <c:v>Химия и нефтехимия</c:v>
                </c:pt>
              </c:strCache>
            </c:strRef>
          </c:tx>
          <c:spPr>
            <a:solidFill>
              <a:schemeClr val="accent2">
                <a:lumMod val="60000"/>
              </a:schemeClr>
            </a:solidFill>
            <a:ln>
              <a:noFill/>
            </a:ln>
            <a:effectLst/>
          </c:spPr>
          <c:invertIfNegative val="0"/>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J$4:$J$6</c:f>
              <c:numCache>
                <c:formatCode>General</c:formatCode>
                <c:ptCount val="3"/>
                <c:pt idx="0" formatCode="0.0%">
                  <c:v>5.7800000000000004E-3</c:v>
                </c:pt>
              </c:numCache>
            </c:numRef>
          </c:val>
          <c:extLst>
            <c:ext xmlns:c16="http://schemas.microsoft.com/office/drawing/2014/chart" uri="{C3380CC4-5D6E-409C-BE32-E72D297353CC}">
              <c16:uniqueId val="{0000000A-88C3-4653-9032-ACB5C3CCD687}"/>
            </c:ext>
          </c:extLst>
        </c:ser>
        <c:ser>
          <c:idx val="8"/>
          <c:order val="8"/>
          <c:tx>
            <c:strRef>
              <c:f>секторы!$K$2</c:f>
              <c:strCache>
                <c:ptCount val="1"/>
                <c:pt idx="0">
                  <c:v>Прочие</c:v>
                </c:pt>
              </c:strCache>
            </c:strRef>
          </c:tx>
          <c:spPr>
            <a:solidFill>
              <a:srgbClr val="C8102E">
                <a:lumMod val="20000"/>
                <a:lumOff val="80000"/>
              </a:srgbClr>
            </a:solidFill>
            <a:ln>
              <a:noFill/>
            </a:ln>
            <a:effectLst/>
          </c:spPr>
          <c:invertIfNegative val="0"/>
          <c:cat>
            <c:strRef>
              <c:f>секторы!$B$4:$B$6</c:f>
              <c:strCache>
                <c:ptCount val="3"/>
                <c:pt idx="0">
                  <c:v>Индекс МосБиржи</c:v>
                </c:pt>
                <c:pt idx="1">
                  <c:v>Индекс "Ответственность и открытость"</c:v>
                </c:pt>
                <c:pt idx="2">
                  <c:v>Индекс "Вектор устойчивого развития"</c:v>
                </c:pt>
              </c:strCache>
            </c:strRef>
          </c:cat>
          <c:val>
            <c:numRef>
              <c:f>секторы!$K$4:$K$6</c:f>
              <c:numCache>
                <c:formatCode>0.0%</c:formatCode>
                <c:ptCount val="3"/>
                <c:pt idx="0">
                  <c:v>8.8899999999999986E-3</c:v>
                </c:pt>
                <c:pt idx="1">
                  <c:v>4.2641763057169289E-3</c:v>
                </c:pt>
                <c:pt idx="2">
                  <c:v>0.11494252873563217</c:v>
                </c:pt>
              </c:numCache>
            </c:numRef>
          </c:val>
          <c:extLst>
            <c:ext xmlns:c16="http://schemas.microsoft.com/office/drawing/2014/chart" uri="{C3380CC4-5D6E-409C-BE32-E72D297353CC}">
              <c16:uniqueId val="{0000000B-88C3-4653-9032-ACB5C3CCD687}"/>
            </c:ext>
          </c:extLst>
        </c:ser>
        <c:dLbls>
          <c:showLegendKey val="0"/>
          <c:showVal val="0"/>
          <c:showCatName val="0"/>
          <c:showSerName val="0"/>
          <c:showPercent val="0"/>
          <c:showBubbleSize val="0"/>
        </c:dLbls>
        <c:gapWidth val="35"/>
        <c:overlap val="100"/>
        <c:axId val="320024544"/>
        <c:axId val="320024936"/>
      </c:barChart>
      <c:catAx>
        <c:axId val="3200245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crossAx val="320024936"/>
        <c:crosses val="autoZero"/>
        <c:auto val="1"/>
        <c:lblAlgn val="ctr"/>
        <c:lblOffset val="100"/>
        <c:noMultiLvlLbl val="0"/>
      </c:catAx>
      <c:valAx>
        <c:axId val="320024936"/>
        <c:scaling>
          <c:orientation val="minMax"/>
        </c:scaling>
        <c:delete val="1"/>
        <c:axPos val="b"/>
        <c:numFmt formatCode="0%" sourceLinked="1"/>
        <c:majorTickMark val="none"/>
        <c:minorTickMark val="none"/>
        <c:tickLblPos val="nextTo"/>
        <c:crossAx val="320024544"/>
        <c:crosses val="autoZero"/>
        <c:crossBetween val="between"/>
      </c:valAx>
      <c:spPr>
        <a:noFill/>
        <a:ln>
          <a:noFill/>
        </a:ln>
        <a:effectLst/>
      </c:spPr>
    </c:plotArea>
    <c:legend>
      <c:legendPos val="b"/>
      <c:layout>
        <c:manualLayout>
          <c:xMode val="edge"/>
          <c:yMode val="edge"/>
          <c:x val="0.11658281065589442"/>
          <c:y val="0.7535321665411735"/>
          <c:w val="0.88341718934410562"/>
          <c:h val="0.1712767071225700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spPr>
    <a:noFill/>
    <a:ln w="9525" cap="flat" cmpd="sng" algn="ctr">
      <a:noFill/>
      <a:round/>
    </a:ln>
    <a:effectLst/>
  </c:spPr>
  <c:txPr>
    <a:bodyPr/>
    <a:lstStyle/>
    <a:p>
      <a:pPr>
        <a:defRPr sz="1000">
          <a:latin typeface="Tahoma" panose="020B0604030504040204" pitchFamily="34" charset="0"/>
          <a:ea typeface="Tahoma" panose="020B0604030504040204" pitchFamily="34" charset="0"/>
          <a:cs typeface="Tahoma" panose="020B0604030504040204" pitchFamily="34" charset="0"/>
        </a:defRPr>
      </a:pPr>
      <a:endParaRPr lang="ru-RU"/>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514356578237697"/>
          <c:y val="8.4100852270914947E-2"/>
          <c:w val="0.85597335338659819"/>
          <c:h val="0.62327626404868763"/>
        </c:manualLayout>
      </c:layout>
      <c:lineChart>
        <c:grouping val="standard"/>
        <c:varyColors val="0"/>
        <c:ser>
          <c:idx val="0"/>
          <c:order val="0"/>
          <c:tx>
            <c:strRef>
              <c:f>значения!$G$1</c:f>
              <c:strCache>
                <c:ptCount val="1"/>
                <c:pt idx="0">
                  <c:v>Индекс "Ответственность и открытость"</c:v>
                </c:pt>
              </c:strCache>
            </c:strRef>
          </c:tx>
          <c:spPr>
            <a:ln w="15875" cap="rnd">
              <a:solidFill>
                <a:srgbClr val="0070C0"/>
              </a:solidFill>
              <a:round/>
            </a:ln>
            <a:effectLst/>
          </c:spPr>
          <c:marker>
            <c:symbol val="none"/>
          </c:marker>
          <c:cat>
            <c:numRef>
              <c:f>значения!$A$2:$A$1745</c:f>
              <c:numCache>
                <c:formatCode>m/d/yyyy</c:formatCode>
                <c:ptCount val="1744"/>
                <c:pt idx="0">
                  <c:v>40907</c:v>
                </c:pt>
                <c:pt idx="1">
                  <c:v>40911</c:v>
                </c:pt>
                <c:pt idx="2">
                  <c:v>40912</c:v>
                </c:pt>
                <c:pt idx="3">
                  <c:v>40913</c:v>
                </c:pt>
                <c:pt idx="4">
                  <c:v>40914</c:v>
                </c:pt>
                <c:pt idx="5">
                  <c:v>40917</c:v>
                </c:pt>
                <c:pt idx="6">
                  <c:v>40918</c:v>
                </c:pt>
                <c:pt idx="7">
                  <c:v>40919</c:v>
                </c:pt>
                <c:pt idx="8">
                  <c:v>40920</c:v>
                </c:pt>
                <c:pt idx="9">
                  <c:v>40921</c:v>
                </c:pt>
                <c:pt idx="10">
                  <c:v>40924</c:v>
                </c:pt>
                <c:pt idx="11">
                  <c:v>40925</c:v>
                </c:pt>
                <c:pt idx="12">
                  <c:v>40926</c:v>
                </c:pt>
                <c:pt idx="13">
                  <c:v>40927</c:v>
                </c:pt>
                <c:pt idx="14">
                  <c:v>40928</c:v>
                </c:pt>
                <c:pt idx="15">
                  <c:v>40931</c:v>
                </c:pt>
                <c:pt idx="16">
                  <c:v>40932</c:v>
                </c:pt>
                <c:pt idx="17">
                  <c:v>40933</c:v>
                </c:pt>
                <c:pt idx="18">
                  <c:v>40934</c:v>
                </c:pt>
                <c:pt idx="19">
                  <c:v>40935</c:v>
                </c:pt>
                <c:pt idx="20">
                  <c:v>40938</c:v>
                </c:pt>
                <c:pt idx="21">
                  <c:v>40939</c:v>
                </c:pt>
                <c:pt idx="22">
                  <c:v>40940</c:v>
                </c:pt>
                <c:pt idx="23">
                  <c:v>40941</c:v>
                </c:pt>
                <c:pt idx="24">
                  <c:v>40942</c:v>
                </c:pt>
                <c:pt idx="25">
                  <c:v>40945</c:v>
                </c:pt>
                <c:pt idx="26">
                  <c:v>40946</c:v>
                </c:pt>
                <c:pt idx="27">
                  <c:v>40947</c:v>
                </c:pt>
                <c:pt idx="28">
                  <c:v>40948</c:v>
                </c:pt>
                <c:pt idx="29">
                  <c:v>40949</c:v>
                </c:pt>
                <c:pt idx="30">
                  <c:v>40952</c:v>
                </c:pt>
                <c:pt idx="31">
                  <c:v>40953</c:v>
                </c:pt>
                <c:pt idx="32">
                  <c:v>40954</c:v>
                </c:pt>
                <c:pt idx="33">
                  <c:v>40955</c:v>
                </c:pt>
                <c:pt idx="34">
                  <c:v>40956</c:v>
                </c:pt>
                <c:pt idx="35">
                  <c:v>40959</c:v>
                </c:pt>
                <c:pt idx="36">
                  <c:v>40960</c:v>
                </c:pt>
                <c:pt idx="37">
                  <c:v>40961</c:v>
                </c:pt>
                <c:pt idx="38">
                  <c:v>40963</c:v>
                </c:pt>
                <c:pt idx="39">
                  <c:v>40966</c:v>
                </c:pt>
                <c:pt idx="40">
                  <c:v>40967</c:v>
                </c:pt>
                <c:pt idx="41">
                  <c:v>40968</c:v>
                </c:pt>
                <c:pt idx="42">
                  <c:v>40969</c:v>
                </c:pt>
                <c:pt idx="43">
                  <c:v>40970</c:v>
                </c:pt>
                <c:pt idx="44">
                  <c:v>40973</c:v>
                </c:pt>
                <c:pt idx="45">
                  <c:v>40974</c:v>
                </c:pt>
                <c:pt idx="46">
                  <c:v>40975</c:v>
                </c:pt>
                <c:pt idx="47">
                  <c:v>40979</c:v>
                </c:pt>
                <c:pt idx="48">
                  <c:v>40980</c:v>
                </c:pt>
                <c:pt idx="49">
                  <c:v>40981</c:v>
                </c:pt>
                <c:pt idx="50">
                  <c:v>40982</c:v>
                </c:pt>
                <c:pt idx="51">
                  <c:v>40983</c:v>
                </c:pt>
                <c:pt idx="52">
                  <c:v>40984</c:v>
                </c:pt>
                <c:pt idx="53">
                  <c:v>40987</c:v>
                </c:pt>
                <c:pt idx="54">
                  <c:v>40988</c:v>
                </c:pt>
                <c:pt idx="55">
                  <c:v>40989</c:v>
                </c:pt>
                <c:pt idx="56">
                  <c:v>40990</c:v>
                </c:pt>
                <c:pt idx="57">
                  <c:v>40991</c:v>
                </c:pt>
                <c:pt idx="58">
                  <c:v>40994</c:v>
                </c:pt>
                <c:pt idx="59">
                  <c:v>40995</c:v>
                </c:pt>
                <c:pt idx="60">
                  <c:v>40996</c:v>
                </c:pt>
                <c:pt idx="61">
                  <c:v>40997</c:v>
                </c:pt>
                <c:pt idx="62">
                  <c:v>40998</c:v>
                </c:pt>
                <c:pt idx="63">
                  <c:v>41001</c:v>
                </c:pt>
                <c:pt idx="64">
                  <c:v>41002</c:v>
                </c:pt>
                <c:pt idx="65">
                  <c:v>41003</c:v>
                </c:pt>
                <c:pt idx="66">
                  <c:v>41004</c:v>
                </c:pt>
                <c:pt idx="67">
                  <c:v>41005</c:v>
                </c:pt>
                <c:pt idx="68">
                  <c:v>41008</c:v>
                </c:pt>
                <c:pt idx="69">
                  <c:v>41009</c:v>
                </c:pt>
                <c:pt idx="70">
                  <c:v>41010</c:v>
                </c:pt>
                <c:pt idx="71">
                  <c:v>41011</c:v>
                </c:pt>
                <c:pt idx="72">
                  <c:v>41012</c:v>
                </c:pt>
                <c:pt idx="73">
                  <c:v>41015</c:v>
                </c:pt>
                <c:pt idx="74">
                  <c:v>41016</c:v>
                </c:pt>
                <c:pt idx="75">
                  <c:v>41017</c:v>
                </c:pt>
                <c:pt idx="76">
                  <c:v>41018</c:v>
                </c:pt>
                <c:pt idx="77">
                  <c:v>41019</c:v>
                </c:pt>
                <c:pt idx="78">
                  <c:v>41022</c:v>
                </c:pt>
                <c:pt idx="79">
                  <c:v>41023</c:v>
                </c:pt>
                <c:pt idx="80">
                  <c:v>41024</c:v>
                </c:pt>
                <c:pt idx="81">
                  <c:v>41025</c:v>
                </c:pt>
                <c:pt idx="82">
                  <c:v>41026</c:v>
                </c:pt>
                <c:pt idx="83">
                  <c:v>41027</c:v>
                </c:pt>
                <c:pt idx="84">
                  <c:v>41031</c:v>
                </c:pt>
                <c:pt idx="85">
                  <c:v>41032</c:v>
                </c:pt>
                <c:pt idx="86">
                  <c:v>41033</c:v>
                </c:pt>
                <c:pt idx="87">
                  <c:v>41034</c:v>
                </c:pt>
                <c:pt idx="88">
                  <c:v>41036</c:v>
                </c:pt>
                <c:pt idx="89">
                  <c:v>41037</c:v>
                </c:pt>
                <c:pt idx="90">
                  <c:v>41039</c:v>
                </c:pt>
                <c:pt idx="91">
                  <c:v>41040</c:v>
                </c:pt>
                <c:pt idx="92">
                  <c:v>41041</c:v>
                </c:pt>
                <c:pt idx="93">
                  <c:v>41043</c:v>
                </c:pt>
                <c:pt idx="94">
                  <c:v>41044</c:v>
                </c:pt>
                <c:pt idx="95">
                  <c:v>41045</c:v>
                </c:pt>
                <c:pt idx="96">
                  <c:v>41046</c:v>
                </c:pt>
                <c:pt idx="97">
                  <c:v>41047</c:v>
                </c:pt>
                <c:pt idx="98">
                  <c:v>41050</c:v>
                </c:pt>
                <c:pt idx="99">
                  <c:v>41051</c:v>
                </c:pt>
                <c:pt idx="100">
                  <c:v>41052</c:v>
                </c:pt>
                <c:pt idx="101">
                  <c:v>41053</c:v>
                </c:pt>
                <c:pt idx="102">
                  <c:v>41054</c:v>
                </c:pt>
                <c:pt idx="103">
                  <c:v>41057</c:v>
                </c:pt>
                <c:pt idx="104">
                  <c:v>41058</c:v>
                </c:pt>
                <c:pt idx="105">
                  <c:v>41059</c:v>
                </c:pt>
                <c:pt idx="106">
                  <c:v>41060</c:v>
                </c:pt>
                <c:pt idx="107">
                  <c:v>41061</c:v>
                </c:pt>
                <c:pt idx="108">
                  <c:v>41064</c:v>
                </c:pt>
                <c:pt idx="109">
                  <c:v>41065</c:v>
                </c:pt>
                <c:pt idx="110">
                  <c:v>41066</c:v>
                </c:pt>
                <c:pt idx="111">
                  <c:v>41067</c:v>
                </c:pt>
                <c:pt idx="112">
                  <c:v>41068</c:v>
                </c:pt>
                <c:pt idx="113">
                  <c:v>41069</c:v>
                </c:pt>
                <c:pt idx="114">
                  <c:v>41073</c:v>
                </c:pt>
                <c:pt idx="115">
                  <c:v>41074</c:v>
                </c:pt>
                <c:pt idx="116">
                  <c:v>41075</c:v>
                </c:pt>
                <c:pt idx="117">
                  <c:v>41078</c:v>
                </c:pt>
                <c:pt idx="118">
                  <c:v>41079</c:v>
                </c:pt>
                <c:pt idx="119">
                  <c:v>41080</c:v>
                </c:pt>
                <c:pt idx="120">
                  <c:v>41081</c:v>
                </c:pt>
                <c:pt idx="121">
                  <c:v>41082</c:v>
                </c:pt>
                <c:pt idx="122">
                  <c:v>41085</c:v>
                </c:pt>
                <c:pt idx="123">
                  <c:v>41086</c:v>
                </c:pt>
                <c:pt idx="124">
                  <c:v>41087</c:v>
                </c:pt>
                <c:pt idx="125">
                  <c:v>41088</c:v>
                </c:pt>
                <c:pt idx="126">
                  <c:v>41089</c:v>
                </c:pt>
                <c:pt idx="127">
                  <c:v>41092</c:v>
                </c:pt>
                <c:pt idx="128">
                  <c:v>41093</c:v>
                </c:pt>
                <c:pt idx="129">
                  <c:v>41094</c:v>
                </c:pt>
                <c:pt idx="130">
                  <c:v>41095</c:v>
                </c:pt>
                <c:pt idx="131">
                  <c:v>41096</c:v>
                </c:pt>
                <c:pt idx="132">
                  <c:v>41099</c:v>
                </c:pt>
                <c:pt idx="133">
                  <c:v>41100</c:v>
                </c:pt>
                <c:pt idx="134">
                  <c:v>41101</c:v>
                </c:pt>
                <c:pt idx="135">
                  <c:v>41102</c:v>
                </c:pt>
                <c:pt idx="136">
                  <c:v>41103</c:v>
                </c:pt>
                <c:pt idx="137">
                  <c:v>41106</c:v>
                </c:pt>
                <c:pt idx="138">
                  <c:v>41107</c:v>
                </c:pt>
                <c:pt idx="139">
                  <c:v>41108</c:v>
                </c:pt>
                <c:pt idx="140">
                  <c:v>41109</c:v>
                </c:pt>
                <c:pt idx="141">
                  <c:v>41110</c:v>
                </c:pt>
                <c:pt idx="142">
                  <c:v>41113</c:v>
                </c:pt>
                <c:pt idx="143">
                  <c:v>41114</c:v>
                </c:pt>
                <c:pt idx="144">
                  <c:v>41115</c:v>
                </c:pt>
                <c:pt idx="145">
                  <c:v>41116</c:v>
                </c:pt>
                <c:pt idx="146">
                  <c:v>41117</c:v>
                </c:pt>
                <c:pt idx="147">
                  <c:v>41120</c:v>
                </c:pt>
                <c:pt idx="148">
                  <c:v>41121</c:v>
                </c:pt>
                <c:pt idx="149">
                  <c:v>41122</c:v>
                </c:pt>
                <c:pt idx="150">
                  <c:v>41123</c:v>
                </c:pt>
                <c:pt idx="151">
                  <c:v>41124</c:v>
                </c:pt>
                <c:pt idx="152">
                  <c:v>41127</c:v>
                </c:pt>
                <c:pt idx="153">
                  <c:v>41128</c:v>
                </c:pt>
                <c:pt idx="154">
                  <c:v>41129</c:v>
                </c:pt>
                <c:pt idx="155">
                  <c:v>41130</c:v>
                </c:pt>
                <c:pt idx="156">
                  <c:v>41131</c:v>
                </c:pt>
                <c:pt idx="157">
                  <c:v>41134</c:v>
                </c:pt>
                <c:pt idx="158">
                  <c:v>41135</c:v>
                </c:pt>
                <c:pt idx="159">
                  <c:v>41136</c:v>
                </c:pt>
                <c:pt idx="160">
                  <c:v>41137</c:v>
                </c:pt>
                <c:pt idx="161">
                  <c:v>41138</c:v>
                </c:pt>
                <c:pt idx="162">
                  <c:v>41141</c:v>
                </c:pt>
                <c:pt idx="163">
                  <c:v>41142</c:v>
                </c:pt>
                <c:pt idx="164">
                  <c:v>41143</c:v>
                </c:pt>
                <c:pt idx="165">
                  <c:v>41144</c:v>
                </c:pt>
                <c:pt idx="166">
                  <c:v>41145</c:v>
                </c:pt>
                <c:pt idx="167">
                  <c:v>41148</c:v>
                </c:pt>
                <c:pt idx="168">
                  <c:v>41149</c:v>
                </c:pt>
                <c:pt idx="169">
                  <c:v>41150</c:v>
                </c:pt>
                <c:pt idx="170">
                  <c:v>41151</c:v>
                </c:pt>
                <c:pt idx="171">
                  <c:v>41152</c:v>
                </c:pt>
                <c:pt idx="172">
                  <c:v>41155</c:v>
                </c:pt>
                <c:pt idx="173">
                  <c:v>41156</c:v>
                </c:pt>
                <c:pt idx="174">
                  <c:v>41157</c:v>
                </c:pt>
                <c:pt idx="175">
                  <c:v>41158</c:v>
                </c:pt>
                <c:pt idx="176">
                  <c:v>41159</c:v>
                </c:pt>
                <c:pt idx="177">
                  <c:v>41162</c:v>
                </c:pt>
                <c:pt idx="178">
                  <c:v>41163</c:v>
                </c:pt>
                <c:pt idx="179">
                  <c:v>41164</c:v>
                </c:pt>
                <c:pt idx="180">
                  <c:v>41165</c:v>
                </c:pt>
                <c:pt idx="181">
                  <c:v>41166</c:v>
                </c:pt>
                <c:pt idx="182">
                  <c:v>41169</c:v>
                </c:pt>
                <c:pt idx="183">
                  <c:v>41170</c:v>
                </c:pt>
                <c:pt idx="184">
                  <c:v>41171</c:v>
                </c:pt>
                <c:pt idx="185">
                  <c:v>41172</c:v>
                </c:pt>
                <c:pt idx="186">
                  <c:v>41173</c:v>
                </c:pt>
                <c:pt idx="187">
                  <c:v>41176</c:v>
                </c:pt>
                <c:pt idx="188">
                  <c:v>41177</c:v>
                </c:pt>
                <c:pt idx="189">
                  <c:v>41178</c:v>
                </c:pt>
                <c:pt idx="190">
                  <c:v>41179</c:v>
                </c:pt>
                <c:pt idx="191">
                  <c:v>41180</c:v>
                </c:pt>
                <c:pt idx="192">
                  <c:v>41183</c:v>
                </c:pt>
                <c:pt idx="193">
                  <c:v>41184</c:v>
                </c:pt>
                <c:pt idx="194">
                  <c:v>41185</c:v>
                </c:pt>
                <c:pt idx="195">
                  <c:v>41186</c:v>
                </c:pt>
                <c:pt idx="196">
                  <c:v>41187</c:v>
                </c:pt>
                <c:pt idx="197">
                  <c:v>41190</c:v>
                </c:pt>
                <c:pt idx="198">
                  <c:v>41191</c:v>
                </c:pt>
                <c:pt idx="199">
                  <c:v>41192</c:v>
                </c:pt>
                <c:pt idx="200">
                  <c:v>41193</c:v>
                </c:pt>
                <c:pt idx="201">
                  <c:v>41194</c:v>
                </c:pt>
                <c:pt idx="202">
                  <c:v>41197</c:v>
                </c:pt>
                <c:pt idx="203">
                  <c:v>41198</c:v>
                </c:pt>
                <c:pt idx="204">
                  <c:v>41199</c:v>
                </c:pt>
                <c:pt idx="205">
                  <c:v>41200</c:v>
                </c:pt>
                <c:pt idx="206">
                  <c:v>41201</c:v>
                </c:pt>
                <c:pt idx="207">
                  <c:v>41204</c:v>
                </c:pt>
                <c:pt idx="208">
                  <c:v>41205</c:v>
                </c:pt>
                <c:pt idx="209">
                  <c:v>41206</c:v>
                </c:pt>
                <c:pt idx="210">
                  <c:v>41207</c:v>
                </c:pt>
                <c:pt idx="211">
                  <c:v>41208</c:v>
                </c:pt>
                <c:pt idx="212">
                  <c:v>41211</c:v>
                </c:pt>
                <c:pt idx="213">
                  <c:v>41212</c:v>
                </c:pt>
                <c:pt idx="214">
                  <c:v>41213</c:v>
                </c:pt>
                <c:pt idx="215">
                  <c:v>41214</c:v>
                </c:pt>
                <c:pt idx="216">
                  <c:v>41215</c:v>
                </c:pt>
                <c:pt idx="217">
                  <c:v>41219</c:v>
                </c:pt>
                <c:pt idx="218">
                  <c:v>41220</c:v>
                </c:pt>
                <c:pt idx="219">
                  <c:v>41221</c:v>
                </c:pt>
                <c:pt idx="220">
                  <c:v>41222</c:v>
                </c:pt>
                <c:pt idx="221">
                  <c:v>41225</c:v>
                </c:pt>
                <c:pt idx="222">
                  <c:v>41226</c:v>
                </c:pt>
                <c:pt idx="223">
                  <c:v>41227</c:v>
                </c:pt>
                <c:pt idx="224">
                  <c:v>41228</c:v>
                </c:pt>
                <c:pt idx="225">
                  <c:v>41229</c:v>
                </c:pt>
                <c:pt idx="226">
                  <c:v>41232</c:v>
                </c:pt>
                <c:pt idx="227">
                  <c:v>41233</c:v>
                </c:pt>
                <c:pt idx="228">
                  <c:v>41234</c:v>
                </c:pt>
                <c:pt idx="229">
                  <c:v>41235</c:v>
                </c:pt>
                <c:pt idx="230">
                  <c:v>41236</c:v>
                </c:pt>
                <c:pt idx="231">
                  <c:v>41239</c:v>
                </c:pt>
                <c:pt idx="232">
                  <c:v>41240</c:v>
                </c:pt>
                <c:pt idx="233">
                  <c:v>41241</c:v>
                </c:pt>
                <c:pt idx="234">
                  <c:v>41242</c:v>
                </c:pt>
                <c:pt idx="235">
                  <c:v>41243</c:v>
                </c:pt>
                <c:pt idx="236">
                  <c:v>41246</c:v>
                </c:pt>
                <c:pt idx="237">
                  <c:v>41247</c:v>
                </c:pt>
                <c:pt idx="238">
                  <c:v>41248</c:v>
                </c:pt>
                <c:pt idx="239">
                  <c:v>41249</c:v>
                </c:pt>
                <c:pt idx="240">
                  <c:v>41250</c:v>
                </c:pt>
                <c:pt idx="241">
                  <c:v>41253</c:v>
                </c:pt>
                <c:pt idx="242">
                  <c:v>41254</c:v>
                </c:pt>
                <c:pt idx="243">
                  <c:v>41255</c:v>
                </c:pt>
                <c:pt idx="244">
                  <c:v>41256</c:v>
                </c:pt>
                <c:pt idx="245">
                  <c:v>41257</c:v>
                </c:pt>
                <c:pt idx="246">
                  <c:v>41260</c:v>
                </c:pt>
                <c:pt idx="247">
                  <c:v>41261</c:v>
                </c:pt>
                <c:pt idx="248">
                  <c:v>41262</c:v>
                </c:pt>
                <c:pt idx="249">
                  <c:v>41263</c:v>
                </c:pt>
                <c:pt idx="250">
                  <c:v>41264</c:v>
                </c:pt>
                <c:pt idx="251">
                  <c:v>41267</c:v>
                </c:pt>
                <c:pt idx="252">
                  <c:v>41268</c:v>
                </c:pt>
                <c:pt idx="253">
                  <c:v>41269</c:v>
                </c:pt>
                <c:pt idx="254">
                  <c:v>41270</c:v>
                </c:pt>
                <c:pt idx="255">
                  <c:v>41271</c:v>
                </c:pt>
                <c:pt idx="256">
                  <c:v>41282</c:v>
                </c:pt>
                <c:pt idx="257">
                  <c:v>41283</c:v>
                </c:pt>
                <c:pt idx="258">
                  <c:v>41284</c:v>
                </c:pt>
                <c:pt idx="259">
                  <c:v>41285</c:v>
                </c:pt>
                <c:pt idx="260">
                  <c:v>41288</c:v>
                </c:pt>
                <c:pt idx="261">
                  <c:v>41289</c:v>
                </c:pt>
                <c:pt idx="262">
                  <c:v>41290</c:v>
                </c:pt>
                <c:pt idx="263">
                  <c:v>41291</c:v>
                </c:pt>
                <c:pt idx="264">
                  <c:v>41292</c:v>
                </c:pt>
                <c:pt idx="265">
                  <c:v>41295</c:v>
                </c:pt>
                <c:pt idx="266">
                  <c:v>41296</c:v>
                </c:pt>
                <c:pt idx="267">
                  <c:v>41297</c:v>
                </c:pt>
                <c:pt idx="268">
                  <c:v>41298</c:v>
                </c:pt>
                <c:pt idx="269">
                  <c:v>41299</c:v>
                </c:pt>
                <c:pt idx="270">
                  <c:v>41302</c:v>
                </c:pt>
                <c:pt idx="271">
                  <c:v>41303</c:v>
                </c:pt>
                <c:pt idx="272">
                  <c:v>41304</c:v>
                </c:pt>
                <c:pt idx="273">
                  <c:v>41305</c:v>
                </c:pt>
                <c:pt idx="274">
                  <c:v>41306</c:v>
                </c:pt>
                <c:pt idx="275">
                  <c:v>41309</c:v>
                </c:pt>
                <c:pt idx="276">
                  <c:v>41310</c:v>
                </c:pt>
                <c:pt idx="277">
                  <c:v>41311</c:v>
                </c:pt>
                <c:pt idx="278">
                  <c:v>41312</c:v>
                </c:pt>
                <c:pt idx="279">
                  <c:v>41313</c:v>
                </c:pt>
                <c:pt idx="280">
                  <c:v>41316</c:v>
                </c:pt>
                <c:pt idx="281">
                  <c:v>41317</c:v>
                </c:pt>
                <c:pt idx="282">
                  <c:v>41318</c:v>
                </c:pt>
                <c:pt idx="283">
                  <c:v>41319</c:v>
                </c:pt>
                <c:pt idx="284">
                  <c:v>41320</c:v>
                </c:pt>
                <c:pt idx="285">
                  <c:v>41323</c:v>
                </c:pt>
                <c:pt idx="286">
                  <c:v>41324</c:v>
                </c:pt>
                <c:pt idx="287">
                  <c:v>41325</c:v>
                </c:pt>
                <c:pt idx="288">
                  <c:v>41326</c:v>
                </c:pt>
                <c:pt idx="289">
                  <c:v>41327</c:v>
                </c:pt>
                <c:pt idx="290">
                  <c:v>41330</c:v>
                </c:pt>
                <c:pt idx="291">
                  <c:v>41331</c:v>
                </c:pt>
                <c:pt idx="292">
                  <c:v>41332</c:v>
                </c:pt>
                <c:pt idx="293">
                  <c:v>41333</c:v>
                </c:pt>
                <c:pt idx="294">
                  <c:v>41334</c:v>
                </c:pt>
                <c:pt idx="295">
                  <c:v>41337</c:v>
                </c:pt>
                <c:pt idx="296">
                  <c:v>41338</c:v>
                </c:pt>
                <c:pt idx="297">
                  <c:v>41339</c:v>
                </c:pt>
                <c:pt idx="298">
                  <c:v>41340</c:v>
                </c:pt>
                <c:pt idx="299">
                  <c:v>41344</c:v>
                </c:pt>
                <c:pt idx="300">
                  <c:v>41345</c:v>
                </c:pt>
                <c:pt idx="301">
                  <c:v>41346</c:v>
                </c:pt>
                <c:pt idx="302">
                  <c:v>41347</c:v>
                </c:pt>
                <c:pt idx="303">
                  <c:v>41348</c:v>
                </c:pt>
                <c:pt idx="304">
                  <c:v>41351</c:v>
                </c:pt>
                <c:pt idx="305">
                  <c:v>41352</c:v>
                </c:pt>
                <c:pt idx="306">
                  <c:v>41353</c:v>
                </c:pt>
                <c:pt idx="307">
                  <c:v>41354</c:v>
                </c:pt>
                <c:pt idx="308">
                  <c:v>41355</c:v>
                </c:pt>
                <c:pt idx="309">
                  <c:v>41358</c:v>
                </c:pt>
                <c:pt idx="310">
                  <c:v>41359</c:v>
                </c:pt>
                <c:pt idx="311">
                  <c:v>41360</c:v>
                </c:pt>
                <c:pt idx="312">
                  <c:v>41361</c:v>
                </c:pt>
                <c:pt idx="313">
                  <c:v>41362</c:v>
                </c:pt>
                <c:pt idx="314">
                  <c:v>41365</c:v>
                </c:pt>
                <c:pt idx="315">
                  <c:v>41366</c:v>
                </c:pt>
                <c:pt idx="316">
                  <c:v>41367</c:v>
                </c:pt>
                <c:pt idx="317">
                  <c:v>41368</c:v>
                </c:pt>
                <c:pt idx="318">
                  <c:v>41369</c:v>
                </c:pt>
                <c:pt idx="319">
                  <c:v>41372</c:v>
                </c:pt>
                <c:pt idx="320">
                  <c:v>41373</c:v>
                </c:pt>
                <c:pt idx="321">
                  <c:v>41374</c:v>
                </c:pt>
                <c:pt idx="322">
                  <c:v>41375</c:v>
                </c:pt>
                <c:pt idx="323">
                  <c:v>41376</c:v>
                </c:pt>
                <c:pt idx="324">
                  <c:v>41379</c:v>
                </c:pt>
                <c:pt idx="325">
                  <c:v>41380</c:v>
                </c:pt>
                <c:pt idx="326">
                  <c:v>41381</c:v>
                </c:pt>
                <c:pt idx="327">
                  <c:v>41382</c:v>
                </c:pt>
                <c:pt idx="328">
                  <c:v>41383</c:v>
                </c:pt>
                <c:pt idx="329">
                  <c:v>41386</c:v>
                </c:pt>
                <c:pt idx="330">
                  <c:v>41387</c:v>
                </c:pt>
                <c:pt idx="331">
                  <c:v>41388</c:v>
                </c:pt>
                <c:pt idx="332">
                  <c:v>41389</c:v>
                </c:pt>
                <c:pt idx="333">
                  <c:v>41390</c:v>
                </c:pt>
                <c:pt idx="334">
                  <c:v>41393</c:v>
                </c:pt>
                <c:pt idx="335">
                  <c:v>41394</c:v>
                </c:pt>
                <c:pt idx="336">
                  <c:v>41396</c:v>
                </c:pt>
                <c:pt idx="337">
                  <c:v>41397</c:v>
                </c:pt>
                <c:pt idx="338">
                  <c:v>41400</c:v>
                </c:pt>
                <c:pt idx="339">
                  <c:v>41401</c:v>
                </c:pt>
                <c:pt idx="340">
                  <c:v>41402</c:v>
                </c:pt>
                <c:pt idx="341">
                  <c:v>41404</c:v>
                </c:pt>
                <c:pt idx="342">
                  <c:v>41407</c:v>
                </c:pt>
                <c:pt idx="343">
                  <c:v>41408</c:v>
                </c:pt>
                <c:pt idx="344">
                  <c:v>41409</c:v>
                </c:pt>
                <c:pt idx="345">
                  <c:v>41410</c:v>
                </c:pt>
                <c:pt idx="346">
                  <c:v>41411</c:v>
                </c:pt>
                <c:pt idx="347">
                  <c:v>41414</c:v>
                </c:pt>
                <c:pt idx="348">
                  <c:v>41415</c:v>
                </c:pt>
                <c:pt idx="349">
                  <c:v>41416</c:v>
                </c:pt>
                <c:pt idx="350">
                  <c:v>41417</c:v>
                </c:pt>
                <c:pt idx="351">
                  <c:v>41418</c:v>
                </c:pt>
                <c:pt idx="352">
                  <c:v>41421</c:v>
                </c:pt>
                <c:pt idx="353">
                  <c:v>41422</c:v>
                </c:pt>
                <c:pt idx="354">
                  <c:v>41423</c:v>
                </c:pt>
                <c:pt idx="355">
                  <c:v>41424</c:v>
                </c:pt>
                <c:pt idx="356">
                  <c:v>41425</c:v>
                </c:pt>
                <c:pt idx="357">
                  <c:v>41428</c:v>
                </c:pt>
                <c:pt idx="358">
                  <c:v>41429</c:v>
                </c:pt>
                <c:pt idx="359">
                  <c:v>41430</c:v>
                </c:pt>
                <c:pt idx="360">
                  <c:v>41431</c:v>
                </c:pt>
                <c:pt idx="361">
                  <c:v>41432</c:v>
                </c:pt>
                <c:pt idx="362">
                  <c:v>41435</c:v>
                </c:pt>
                <c:pt idx="363">
                  <c:v>41436</c:v>
                </c:pt>
                <c:pt idx="364">
                  <c:v>41438</c:v>
                </c:pt>
                <c:pt idx="365">
                  <c:v>41439</c:v>
                </c:pt>
                <c:pt idx="366">
                  <c:v>41442</c:v>
                </c:pt>
                <c:pt idx="367">
                  <c:v>41443</c:v>
                </c:pt>
                <c:pt idx="368">
                  <c:v>41444</c:v>
                </c:pt>
                <c:pt idx="369">
                  <c:v>41445</c:v>
                </c:pt>
                <c:pt idx="370">
                  <c:v>41446</c:v>
                </c:pt>
                <c:pt idx="371">
                  <c:v>41449</c:v>
                </c:pt>
                <c:pt idx="372">
                  <c:v>41450</c:v>
                </c:pt>
                <c:pt idx="373">
                  <c:v>41451</c:v>
                </c:pt>
                <c:pt idx="374">
                  <c:v>41452</c:v>
                </c:pt>
                <c:pt idx="375">
                  <c:v>41453</c:v>
                </c:pt>
                <c:pt idx="376">
                  <c:v>41456</c:v>
                </c:pt>
                <c:pt idx="377">
                  <c:v>41457</c:v>
                </c:pt>
                <c:pt idx="378">
                  <c:v>41458</c:v>
                </c:pt>
                <c:pt idx="379">
                  <c:v>41459</c:v>
                </c:pt>
                <c:pt idx="380">
                  <c:v>41460</c:v>
                </c:pt>
                <c:pt idx="381">
                  <c:v>41463</c:v>
                </c:pt>
                <c:pt idx="382">
                  <c:v>41464</c:v>
                </c:pt>
                <c:pt idx="383">
                  <c:v>41465</c:v>
                </c:pt>
                <c:pt idx="384">
                  <c:v>41466</c:v>
                </c:pt>
                <c:pt idx="385">
                  <c:v>41467</c:v>
                </c:pt>
                <c:pt idx="386">
                  <c:v>41470</c:v>
                </c:pt>
                <c:pt idx="387">
                  <c:v>41471</c:v>
                </c:pt>
                <c:pt idx="388">
                  <c:v>41472</c:v>
                </c:pt>
                <c:pt idx="389">
                  <c:v>41473</c:v>
                </c:pt>
                <c:pt idx="390">
                  <c:v>41474</c:v>
                </c:pt>
                <c:pt idx="391">
                  <c:v>41477</c:v>
                </c:pt>
                <c:pt idx="392">
                  <c:v>41478</c:v>
                </c:pt>
                <c:pt idx="393">
                  <c:v>41479</c:v>
                </c:pt>
                <c:pt idx="394">
                  <c:v>41480</c:v>
                </c:pt>
                <c:pt idx="395">
                  <c:v>41481</c:v>
                </c:pt>
                <c:pt idx="396">
                  <c:v>41484</c:v>
                </c:pt>
                <c:pt idx="397">
                  <c:v>41485</c:v>
                </c:pt>
                <c:pt idx="398">
                  <c:v>41486</c:v>
                </c:pt>
                <c:pt idx="399">
                  <c:v>41487</c:v>
                </c:pt>
                <c:pt idx="400">
                  <c:v>41488</c:v>
                </c:pt>
                <c:pt idx="401">
                  <c:v>41491</c:v>
                </c:pt>
                <c:pt idx="402">
                  <c:v>41492</c:v>
                </c:pt>
                <c:pt idx="403">
                  <c:v>41493</c:v>
                </c:pt>
                <c:pt idx="404">
                  <c:v>41494</c:v>
                </c:pt>
                <c:pt idx="405">
                  <c:v>41495</c:v>
                </c:pt>
                <c:pt idx="406">
                  <c:v>41498</c:v>
                </c:pt>
                <c:pt idx="407">
                  <c:v>41499</c:v>
                </c:pt>
                <c:pt idx="408">
                  <c:v>41500</c:v>
                </c:pt>
                <c:pt idx="409">
                  <c:v>41501</c:v>
                </c:pt>
                <c:pt idx="410">
                  <c:v>41502</c:v>
                </c:pt>
                <c:pt idx="411">
                  <c:v>41505</c:v>
                </c:pt>
                <c:pt idx="412">
                  <c:v>41506</c:v>
                </c:pt>
                <c:pt idx="413">
                  <c:v>41507</c:v>
                </c:pt>
                <c:pt idx="414">
                  <c:v>41508</c:v>
                </c:pt>
                <c:pt idx="415">
                  <c:v>41509</c:v>
                </c:pt>
                <c:pt idx="416">
                  <c:v>41512</c:v>
                </c:pt>
                <c:pt idx="417">
                  <c:v>41513</c:v>
                </c:pt>
                <c:pt idx="418">
                  <c:v>41514</c:v>
                </c:pt>
                <c:pt idx="419">
                  <c:v>41515</c:v>
                </c:pt>
                <c:pt idx="420">
                  <c:v>41516</c:v>
                </c:pt>
                <c:pt idx="421">
                  <c:v>41519</c:v>
                </c:pt>
                <c:pt idx="422">
                  <c:v>41520</c:v>
                </c:pt>
                <c:pt idx="423">
                  <c:v>41521</c:v>
                </c:pt>
                <c:pt idx="424">
                  <c:v>41522</c:v>
                </c:pt>
                <c:pt idx="425">
                  <c:v>41523</c:v>
                </c:pt>
                <c:pt idx="426">
                  <c:v>41526</c:v>
                </c:pt>
                <c:pt idx="427">
                  <c:v>41527</c:v>
                </c:pt>
                <c:pt idx="428">
                  <c:v>41528</c:v>
                </c:pt>
                <c:pt idx="429">
                  <c:v>41529</c:v>
                </c:pt>
                <c:pt idx="430">
                  <c:v>41530</c:v>
                </c:pt>
                <c:pt idx="431">
                  <c:v>41533</c:v>
                </c:pt>
                <c:pt idx="432">
                  <c:v>41534</c:v>
                </c:pt>
                <c:pt idx="433">
                  <c:v>41535</c:v>
                </c:pt>
                <c:pt idx="434">
                  <c:v>41536</c:v>
                </c:pt>
                <c:pt idx="435">
                  <c:v>41537</c:v>
                </c:pt>
                <c:pt idx="436">
                  <c:v>41540</c:v>
                </c:pt>
                <c:pt idx="437">
                  <c:v>41541</c:v>
                </c:pt>
                <c:pt idx="438">
                  <c:v>41542</c:v>
                </c:pt>
                <c:pt idx="439">
                  <c:v>41543</c:v>
                </c:pt>
                <c:pt idx="440">
                  <c:v>41544</c:v>
                </c:pt>
                <c:pt idx="441">
                  <c:v>41547</c:v>
                </c:pt>
                <c:pt idx="442">
                  <c:v>41548</c:v>
                </c:pt>
                <c:pt idx="443">
                  <c:v>41549</c:v>
                </c:pt>
                <c:pt idx="444">
                  <c:v>41550</c:v>
                </c:pt>
                <c:pt idx="445">
                  <c:v>41551</c:v>
                </c:pt>
                <c:pt idx="446">
                  <c:v>41554</c:v>
                </c:pt>
                <c:pt idx="447">
                  <c:v>41555</c:v>
                </c:pt>
                <c:pt idx="448">
                  <c:v>41556</c:v>
                </c:pt>
                <c:pt idx="449">
                  <c:v>41557</c:v>
                </c:pt>
                <c:pt idx="450">
                  <c:v>41558</c:v>
                </c:pt>
                <c:pt idx="451">
                  <c:v>41561</c:v>
                </c:pt>
                <c:pt idx="452">
                  <c:v>41562</c:v>
                </c:pt>
                <c:pt idx="453">
                  <c:v>41563</c:v>
                </c:pt>
                <c:pt idx="454">
                  <c:v>41564</c:v>
                </c:pt>
                <c:pt idx="455">
                  <c:v>41565</c:v>
                </c:pt>
                <c:pt idx="456">
                  <c:v>41568</c:v>
                </c:pt>
                <c:pt idx="457">
                  <c:v>41569</c:v>
                </c:pt>
                <c:pt idx="458">
                  <c:v>41570</c:v>
                </c:pt>
                <c:pt idx="459">
                  <c:v>41571</c:v>
                </c:pt>
                <c:pt idx="460">
                  <c:v>41572</c:v>
                </c:pt>
                <c:pt idx="461">
                  <c:v>41575</c:v>
                </c:pt>
                <c:pt idx="462">
                  <c:v>41576</c:v>
                </c:pt>
                <c:pt idx="463">
                  <c:v>41577</c:v>
                </c:pt>
                <c:pt idx="464">
                  <c:v>41578</c:v>
                </c:pt>
                <c:pt idx="465">
                  <c:v>41579</c:v>
                </c:pt>
                <c:pt idx="466">
                  <c:v>41583</c:v>
                </c:pt>
                <c:pt idx="467">
                  <c:v>41584</c:v>
                </c:pt>
                <c:pt idx="468">
                  <c:v>41585</c:v>
                </c:pt>
                <c:pt idx="469">
                  <c:v>41586</c:v>
                </c:pt>
                <c:pt idx="470">
                  <c:v>41589</c:v>
                </c:pt>
                <c:pt idx="471">
                  <c:v>41590</c:v>
                </c:pt>
                <c:pt idx="472">
                  <c:v>41591</c:v>
                </c:pt>
                <c:pt idx="473">
                  <c:v>41592</c:v>
                </c:pt>
                <c:pt idx="474">
                  <c:v>41593</c:v>
                </c:pt>
                <c:pt idx="475">
                  <c:v>41596</c:v>
                </c:pt>
                <c:pt idx="476">
                  <c:v>41597</c:v>
                </c:pt>
                <c:pt idx="477">
                  <c:v>41598</c:v>
                </c:pt>
                <c:pt idx="478">
                  <c:v>41599</c:v>
                </c:pt>
                <c:pt idx="479">
                  <c:v>41600</c:v>
                </c:pt>
                <c:pt idx="480">
                  <c:v>41603</c:v>
                </c:pt>
                <c:pt idx="481">
                  <c:v>41604</c:v>
                </c:pt>
                <c:pt idx="482">
                  <c:v>41605</c:v>
                </c:pt>
                <c:pt idx="483">
                  <c:v>41606</c:v>
                </c:pt>
                <c:pt idx="484">
                  <c:v>41607</c:v>
                </c:pt>
                <c:pt idx="485">
                  <c:v>41610</c:v>
                </c:pt>
                <c:pt idx="486">
                  <c:v>41611</c:v>
                </c:pt>
                <c:pt idx="487">
                  <c:v>41612</c:v>
                </c:pt>
                <c:pt idx="488">
                  <c:v>41613</c:v>
                </c:pt>
                <c:pt idx="489">
                  <c:v>41614</c:v>
                </c:pt>
                <c:pt idx="490">
                  <c:v>41617</c:v>
                </c:pt>
                <c:pt idx="491">
                  <c:v>41618</c:v>
                </c:pt>
                <c:pt idx="492">
                  <c:v>41619</c:v>
                </c:pt>
                <c:pt idx="493">
                  <c:v>41620</c:v>
                </c:pt>
                <c:pt idx="494">
                  <c:v>41621</c:v>
                </c:pt>
                <c:pt idx="495">
                  <c:v>41624</c:v>
                </c:pt>
                <c:pt idx="496">
                  <c:v>41625</c:v>
                </c:pt>
                <c:pt idx="497">
                  <c:v>41626</c:v>
                </c:pt>
                <c:pt idx="498">
                  <c:v>41627</c:v>
                </c:pt>
                <c:pt idx="499">
                  <c:v>41628</c:v>
                </c:pt>
                <c:pt idx="500">
                  <c:v>41631</c:v>
                </c:pt>
                <c:pt idx="501">
                  <c:v>41632</c:v>
                </c:pt>
                <c:pt idx="502">
                  <c:v>41633</c:v>
                </c:pt>
                <c:pt idx="503">
                  <c:v>41634</c:v>
                </c:pt>
                <c:pt idx="504">
                  <c:v>41635</c:v>
                </c:pt>
                <c:pt idx="505">
                  <c:v>41638</c:v>
                </c:pt>
                <c:pt idx="506">
                  <c:v>41645</c:v>
                </c:pt>
                <c:pt idx="507">
                  <c:v>41647</c:v>
                </c:pt>
                <c:pt idx="508">
                  <c:v>41648</c:v>
                </c:pt>
                <c:pt idx="509">
                  <c:v>41649</c:v>
                </c:pt>
                <c:pt idx="510">
                  <c:v>41652</c:v>
                </c:pt>
                <c:pt idx="511">
                  <c:v>41653</c:v>
                </c:pt>
                <c:pt idx="512">
                  <c:v>41654</c:v>
                </c:pt>
                <c:pt idx="513">
                  <c:v>41655</c:v>
                </c:pt>
                <c:pt idx="514">
                  <c:v>41656</c:v>
                </c:pt>
                <c:pt idx="515">
                  <c:v>41659</c:v>
                </c:pt>
                <c:pt idx="516">
                  <c:v>41660</c:v>
                </c:pt>
                <c:pt idx="517">
                  <c:v>41661</c:v>
                </c:pt>
                <c:pt idx="518">
                  <c:v>41662</c:v>
                </c:pt>
                <c:pt idx="519">
                  <c:v>41663</c:v>
                </c:pt>
                <c:pt idx="520">
                  <c:v>41666</c:v>
                </c:pt>
                <c:pt idx="521">
                  <c:v>41667</c:v>
                </c:pt>
                <c:pt idx="522">
                  <c:v>41668</c:v>
                </c:pt>
                <c:pt idx="523">
                  <c:v>41669</c:v>
                </c:pt>
                <c:pt idx="524">
                  <c:v>41670</c:v>
                </c:pt>
                <c:pt idx="525">
                  <c:v>41673</c:v>
                </c:pt>
                <c:pt idx="526">
                  <c:v>41674</c:v>
                </c:pt>
                <c:pt idx="527">
                  <c:v>41675</c:v>
                </c:pt>
                <c:pt idx="528">
                  <c:v>41676</c:v>
                </c:pt>
                <c:pt idx="529">
                  <c:v>41677</c:v>
                </c:pt>
                <c:pt idx="530">
                  <c:v>41680</c:v>
                </c:pt>
                <c:pt idx="531">
                  <c:v>41681</c:v>
                </c:pt>
                <c:pt idx="532">
                  <c:v>41682</c:v>
                </c:pt>
                <c:pt idx="533">
                  <c:v>41683</c:v>
                </c:pt>
                <c:pt idx="534">
                  <c:v>41684</c:v>
                </c:pt>
                <c:pt idx="535">
                  <c:v>41687</c:v>
                </c:pt>
                <c:pt idx="536">
                  <c:v>41688</c:v>
                </c:pt>
                <c:pt idx="537">
                  <c:v>41689</c:v>
                </c:pt>
                <c:pt idx="538">
                  <c:v>41690</c:v>
                </c:pt>
                <c:pt idx="539">
                  <c:v>41691</c:v>
                </c:pt>
                <c:pt idx="540">
                  <c:v>41694</c:v>
                </c:pt>
                <c:pt idx="541">
                  <c:v>41695</c:v>
                </c:pt>
                <c:pt idx="542">
                  <c:v>41696</c:v>
                </c:pt>
                <c:pt idx="543">
                  <c:v>41697</c:v>
                </c:pt>
                <c:pt idx="544">
                  <c:v>41698</c:v>
                </c:pt>
                <c:pt idx="545">
                  <c:v>41701</c:v>
                </c:pt>
                <c:pt idx="546">
                  <c:v>41702</c:v>
                </c:pt>
                <c:pt idx="547">
                  <c:v>41703</c:v>
                </c:pt>
                <c:pt idx="548">
                  <c:v>41704</c:v>
                </c:pt>
                <c:pt idx="549">
                  <c:v>41705</c:v>
                </c:pt>
                <c:pt idx="550">
                  <c:v>41709</c:v>
                </c:pt>
                <c:pt idx="551">
                  <c:v>41710</c:v>
                </c:pt>
                <c:pt idx="552">
                  <c:v>41711</c:v>
                </c:pt>
                <c:pt idx="553">
                  <c:v>41712</c:v>
                </c:pt>
                <c:pt idx="554">
                  <c:v>41715</c:v>
                </c:pt>
                <c:pt idx="555">
                  <c:v>41716</c:v>
                </c:pt>
                <c:pt idx="556">
                  <c:v>41717</c:v>
                </c:pt>
                <c:pt idx="557">
                  <c:v>41718</c:v>
                </c:pt>
                <c:pt idx="558">
                  <c:v>41719</c:v>
                </c:pt>
                <c:pt idx="559">
                  <c:v>41722</c:v>
                </c:pt>
                <c:pt idx="560">
                  <c:v>41723</c:v>
                </c:pt>
                <c:pt idx="561">
                  <c:v>41724</c:v>
                </c:pt>
                <c:pt idx="562">
                  <c:v>41725</c:v>
                </c:pt>
                <c:pt idx="563">
                  <c:v>41726</c:v>
                </c:pt>
                <c:pt idx="564">
                  <c:v>41729</c:v>
                </c:pt>
                <c:pt idx="565">
                  <c:v>41730</c:v>
                </c:pt>
                <c:pt idx="566">
                  <c:v>41731</c:v>
                </c:pt>
                <c:pt idx="567">
                  <c:v>41732</c:v>
                </c:pt>
                <c:pt idx="568">
                  <c:v>41733</c:v>
                </c:pt>
                <c:pt idx="569">
                  <c:v>41736</c:v>
                </c:pt>
                <c:pt idx="570">
                  <c:v>41737</c:v>
                </c:pt>
                <c:pt idx="571">
                  <c:v>41738</c:v>
                </c:pt>
                <c:pt idx="572">
                  <c:v>41739</c:v>
                </c:pt>
                <c:pt idx="573">
                  <c:v>41740</c:v>
                </c:pt>
                <c:pt idx="574">
                  <c:v>41743</c:v>
                </c:pt>
                <c:pt idx="575">
                  <c:v>41744</c:v>
                </c:pt>
                <c:pt idx="576">
                  <c:v>41745</c:v>
                </c:pt>
                <c:pt idx="577">
                  <c:v>41746</c:v>
                </c:pt>
                <c:pt idx="578">
                  <c:v>41747</c:v>
                </c:pt>
                <c:pt idx="579">
                  <c:v>41750</c:v>
                </c:pt>
                <c:pt idx="580">
                  <c:v>41751</c:v>
                </c:pt>
                <c:pt idx="581">
                  <c:v>41752</c:v>
                </c:pt>
                <c:pt idx="582">
                  <c:v>41753</c:v>
                </c:pt>
                <c:pt idx="583">
                  <c:v>41754</c:v>
                </c:pt>
                <c:pt idx="584">
                  <c:v>41757</c:v>
                </c:pt>
                <c:pt idx="585">
                  <c:v>41758</c:v>
                </c:pt>
                <c:pt idx="586">
                  <c:v>41759</c:v>
                </c:pt>
                <c:pt idx="587">
                  <c:v>41761</c:v>
                </c:pt>
                <c:pt idx="588">
                  <c:v>41764</c:v>
                </c:pt>
                <c:pt idx="589">
                  <c:v>41765</c:v>
                </c:pt>
                <c:pt idx="590">
                  <c:v>41766</c:v>
                </c:pt>
                <c:pt idx="591">
                  <c:v>41767</c:v>
                </c:pt>
                <c:pt idx="592">
                  <c:v>41771</c:v>
                </c:pt>
                <c:pt idx="593">
                  <c:v>41772</c:v>
                </c:pt>
                <c:pt idx="594">
                  <c:v>41773</c:v>
                </c:pt>
                <c:pt idx="595">
                  <c:v>41774</c:v>
                </c:pt>
                <c:pt idx="596">
                  <c:v>41775</c:v>
                </c:pt>
                <c:pt idx="597">
                  <c:v>41778</c:v>
                </c:pt>
                <c:pt idx="598">
                  <c:v>41779</c:v>
                </c:pt>
                <c:pt idx="599">
                  <c:v>41780</c:v>
                </c:pt>
                <c:pt idx="600">
                  <c:v>41781</c:v>
                </c:pt>
                <c:pt idx="601">
                  <c:v>41782</c:v>
                </c:pt>
                <c:pt idx="602">
                  <c:v>41785</c:v>
                </c:pt>
                <c:pt idx="603">
                  <c:v>41786</c:v>
                </c:pt>
                <c:pt idx="604">
                  <c:v>41787</c:v>
                </c:pt>
                <c:pt idx="605">
                  <c:v>41788</c:v>
                </c:pt>
                <c:pt idx="606">
                  <c:v>41789</c:v>
                </c:pt>
                <c:pt idx="607">
                  <c:v>41792</c:v>
                </c:pt>
                <c:pt idx="608">
                  <c:v>41793</c:v>
                </c:pt>
                <c:pt idx="609">
                  <c:v>41794</c:v>
                </c:pt>
                <c:pt idx="610">
                  <c:v>41795</c:v>
                </c:pt>
                <c:pt idx="611">
                  <c:v>41796</c:v>
                </c:pt>
                <c:pt idx="612">
                  <c:v>41799</c:v>
                </c:pt>
                <c:pt idx="613">
                  <c:v>41800</c:v>
                </c:pt>
                <c:pt idx="614">
                  <c:v>41801</c:v>
                </c:pt>
                <c:pt idx="615">
                  <c:v>41806</c:v>
                </c:pt>
                <c:pt idx="616">
                  <c:v>41807</c:v>
                </c:pt>
                <c:pt idx="617">
                  <c:v>41808</c:v>
                </c:pt>
                <c:pt idx="618">
                  <c:v>41809</c:v>
                </c:pt>
                <c:pt idx="619">
                  <c:v>41810</c:v>
                </c:pt>
                <c:pt idx="620">
                  <c:v>41813</c:v>
                </c:pt>
                <c:pt idx="621">
                  <c:v>41814</c:v>
                </c:pt>
                <c:pt idx="622">
                  <c:v>41815</c:v>
                </c:pt>
                <c:pt idx="623">
                  <c:v>41816</c:v>
                </c:pt>
                <c:pt idx="624">
                  <c:v>41817</c:v>
                </c:pt>
                <c:pt idx="625">
                  <c:v>41820</c:v>
                </c:pt>
                <c:pt idx="626">
                  <c:v>41821</c:v>
                </c:pt>
                <c:pt idx="627">
                  <c:v>41822</c:v>
                </c:pt>
                <c:pt idx="628">
                  <c:v>41823</c:v>
                </c:pt>
                <c:pt idx="629">
                  <c:v>41824</c:v>
                </c:pt>
                <c:pt idx="630">
                  <c:v>41827</c:v>
                </c:pt>
                <c:pt idx="631">
                  <c:v>41828</c:v>
                </c:pt>
                <c:pt idx="632">
                  <c:v>41829</c:v>
                </c:pt>
                <c:pt idx="633">
                  <c:v>41830</c:v>
                </c:pt>
                <c:pt idx="634">
                  <c:v>41831</c:v>
                </c:pt>
                <c:pt idx="635">
                  <c:v>41834</c:v>
                </c:pt>
                <c:pt idx="636">
                  <c:v>41835</c:v>
                </c:pt>
                <c:pt idx="637">
                  <c:v>41836</c:v>
                </c:pt>
                <c:pt idx="638">
                  <c:v>41837</c:v>
                </c:pt>
                <c:pt idx="639">
                  <c:v>41838</c:v>
                </c:pt>
                <c:pt idx="640">
                  <c:v>41841</c:v>
                </c:pt>
                <c:pt idx="641">
                  <c:v>41842</c:v>
                </c:pt>
                <c:pt idx="642">
                  <c:v>41843</c:v>
                </c:pt>
                <c:pt idx="643">
                  <c:v>41844</c:v>
                </c:pt>
                <c:pt idx="644">
                  <c:v>41845</c:v>
                </c:pt>
                <c:pt idx="645">
                  <c:v>41848</c:v>
                </c:pt>
                <c:pt idx="646">
                  <c:v>41849</c:v>
                </c:pt>
                <c:pt idx="647">
                  <c:v>41850</c:v>
                </c:pt>
                <c:pt idx="648">
                  <c:v>41851</c:v>
                </c:pt>
                <c:pt idx="649">
                  <c:v>41852</c:v>
                </c:pt>
                <c:pt idx="650">
                  <c:v>41855</c:v>
                </c:pt>
                <c:pt idx="651">
                  <c:v>41856</c:v>
                </c:pt>
                <c:pt idx="652">
                  <c:v>41857</c:v>
                </c:pt>
                <c:pt idx="653">
                  <c:v>41858</c:v>
                </c:pt>
                <c:pt idx="654">
                  <c:v>41859</c:v>
                </c:pt>
                <c:pt idx="655">
                  <c:v>41862</c:v>
                </c:pt>
                <c:pt idx="656">
                  <c:v>41863</c:v>
                </c:pt>
                <c:pt idx="657">
                  <c:v>41864</c:v>
                </c:pt>
                <c:pt idx="658">
                  <c:v>41865</c:v>
                </c:pt>
                <c:pt idx="659">
                  <c:v>41866</c:v>
                </c:pt>
                <c:pt idx="660">
                  <c:v>41869</c:v>
                </c:pt>
                <c:pt idx="661">
                  <c:v>41870</c:v>
                </c:pt>
                <c:pt idx="662">
                  <c:v>41871</c:v>
                </c:pt>
                <c:pt idx="663">
                  <c:v>41872</c:v>
                </c:pt>
                <c:pt idx="664">
                  <c:v>41873</c:v>
                </c:pt>
                <c:pt idx="665">
                  <c:v>41876</c:v>
                </c:pt>
                <c:pt idx="666">
                  <c:v>41877</c:v>
                </c:pt>
                <c:pt idx="667">
                  <c:v>41878</c:v>
                </c:pt>
                <c:pt idx="668">
                  <c:v>41879</c:v>
                </c:pt>
                <c:pt idx="669">
                  <c:v>41880</c:v>
                </c:pt>
                <c:pt idx="670">
                  <c:v>41883</c:v>
                </c:pt>
                <c:pt idx="671">
                  <c:v>41884</c:v>
                </c:pt>
                <c:pt idx="672">
                  <c:v>41885</c:v>
                </c:pt>
                <c:pt idx="673">
                  <c:v>41886</c:v>
                </c:pt>
                <c:pt idx="674">
                  <c:v>41887</c:v>
                </c:pt>
                <c:pt idx="675">
                  <c:v>41890</c:v>
                </c:pt>
                <c:pt idx="676">
                  <c:v>41891</c:v>
                </c:pt>
                <c:pt idx="677">
                  <c:v>41892</c:v>
                </c:pt>
                <c:pt idx="678">
                  <c:v>41893</c:v>
                </c:pt>
                <c:pt idx="679">
                  <c:v>41894</c:v>
                </c:pt>
                <c:pt idx="680">
                  <c:v>41897</c:v>
                </c:pt>
                <c:pt idx="681">
                  <c:v>41898</c:v>
                </c:pt>
                <c:pt idx="682">
                  <c:v>41899</c:v>
                </c:pt>
                <c:pt idx="683">
                  <c:v>41900</c:v>
                </c:pt>
                <c:pt idx="684">
                  <c:v>41901</c:v>
                </c:pt>
                <c:pt idx="685">
                  <c:v>41904</c:v>
                </c:pt>
                <c:pt idx="686">
                  <c:v>41905</c:v>
                </c:pt>
                <c:pt idx="687">
                  <c:v>41906</c:v>
                </c:pt>
                <c:pt idx="688">
                  <c:v>41907</c:v>
                </c:pt>
                <c:pt idx="689">
                  <c:v>41908</c:v>
                </c:pt>
                <c:pt idx="690">
                  <c:v>41911</c:v>
                </c:pt>
                <c:pt idx="691">
                  <c:v>41912</c:v>
                </c:pt>
                <c:pt idx="692">
                  <c:v>41913</c:v>
                </c:pt>
                <c:pt idx="693">
                  <c:v>41914</c:v>
                </c:pt>
                <c:pt idx="694">
                  <c:v>41915</c:v>
                </c:pt>
                <c:pt idx="695">
                  <c:v>41918</c:v>
                </c:pt>
                <c:pt idx="696">
                  <c:v>41919</c:v>
                </c:pt>
                <c:pt idx="697">
                  <c:v>41920</c:v>
                </c:pt>
                <c:pt idx="698">
                  <c:v>41921</c:v>
                </c:pt>
                <c:pt idx="699">
                  <c:v>41922</c:v>
                </c:pt>
                <c:pt idx="700">
                  <c:v>41925</c:v>
                </c:pt>
                <c:pt idx="701">
                  <c:v>41926</c:v>
                </c:pt>
                <c:pt idx="702">
                  <c:v>41927</c:v>
                </c:pt>
                <c:pt idx="703">
                  <c:v>41928</c:v>
                </c:pt>
                <c:pt idx="704">
                  <c:v>41929</c:v>
                </c:pt>
                <c:pt idx="705">
                  <c:v>41932</c:v>
                </c:pt>
                <c:pt idx="706">
                  <c:v>41933</c:v>
                </c:pt>
                <c:pt idx="707">
                  <c:v>41934</c:v>
                </c:pt>
                <c:pt idx="708">
                  <c:v>41935</c:v>
                </c:pt>
                <c:pt idx="709">
                  <c:v>41936</c:v>
                </c:pt>
                <c:pt idx="710">
                  <c:v>41939</c:v>
                </c:pt>
                <c:pt idx="711">
                  <c:v>41940</c:v>
                </c:pt>
                <c:pt idx="712">
                  <c:v>41941</c:v>
                </c:pt>
                <c:pt idx="713">
                  <c:v>41942</c:v>
                </c:pt>
                <c:pt idx="714">
                  <c:v>41943</c:v>
                </c:pt>
                <c:pt idx="715">
                  <c:v>41946</c:v>
                </c:pt>
                <c:pt idx="716">
                  <c:v>41948</c:v>
                </c:pt>
                <c:pt idx="717">
                  <c:v>41949</c:v>
                </c:pt>
                <c:pt idx="718">
                  <c:v>41950</c:v>
                </c:pt>
                <c:pt idx="719">
                  <c:v>41953</c:v>
                </c:pt>
                <c:pt idx="720">
                  <c:v>41954</c:v>
                </c:pt>
                <c:pt idx="721">
                  <c:v>41955</c:v>
                </c:pt>
                <c:pt idx="722">
                  <c:v>41956</c:v>
                </c:pt>
                <c:pt idx="723">
                  <c:v>41957</c:v>
                </c:pt>
                <c:pt idx="724">
                  <c:v>41960</c:v>
                </c:pt>
                <c:pt idx="725">
                  <c:v>41961</c:v>
                </c:pt>
                <c:pt idx="726">
                  <c:v>41962</c:v>
                </c:pt>
                <c:pt idx="727">
                  <c:v>41963</c:v>
                </c:pt>
                <c:pt idx="728">
                  <c:v>41964</c:v>
                </c:pt>
                <c:pt idx="729">
                  <c:v>41967</c:v>
                </c:pt>
                <c:pt idx="730">
                  <c:v>41968</c:v>
                </c:pt>
                <c:pt idx="731">
                  <c:v>41969</c:v>
                </c:pt>
                <c:pt idx="732">
                  <c:v>41970</c:v>
                </c:pt>
                <c:pt idx="733">
                  <c:v>41971</c:v>
                </c:pt>
                <c:pt idx="734">
                  <c:v>41974</c:v>
                </c:pt>
                <c:pt idx="735">
                  <c:v>41975</c:v>
                </c:pt>
                <c:pt idx="736">
                  <c:v>41976</c:v>
                </c:pt>
                <c:pt idx="737">
                  <c:v>41977</c:v>
                </c:pt>
                <c:pt idx="738">
                  <c:v>41978</c:v>
                </c:pt>
                <c:pt idx="739">
                  <c:v>41981</c:v>
                </c:pt>
                <c:pt idx="740">
                  <c:v>41982</c:v>
                </c:pt>
                <c:pt idx="741">
                  <c:v>41983</c:v>
                </c:pt>
                <c:pt idx="742">
                  <c:v>41984</c:v>
                </c:pt>
                <c:pt idx="743">
                  <c:v>41985</c:v>
                </c:pt>
                <c:pt idx="744">
                  <c:v>41988</c:v>
                </c:pt>
                <c:pt idx="745">
                  <c:v>41989</c:v>
                </c:pt>
                <c:pt idx="746">
                  <c:v>41990</c:v>
                </c:pt>
                <c:pt idx="747">
                  <c:v>41991</c:v>
                </c:pt>
                <c:pt idx="748">
                  <c:v>41992</c:v>
                </c:pt>
                <c:pt idx="749">
                  <c:v>41995</c:v>
                </c:pt>
                <c:pt idx="750">
                  <c:v>41996</c:v>
                </c:pt>
                <c:pt idx="751">
                  <c:v>41997</c:v>
                </c:pt>
                <c:pt idx="752">
                  <c:v>41998</c:v>
                </c:pt>
                <c:pt idx="753">
                  <c:v>41999</c:v>
                </c:pt>
                <c:pt idx="754">
                  <c:v>42002</c:v>
                </c:pt>
                <c:pt idx="755">
                  <c:v>42003</c:v>
                </c:pt>
                <c:pt idx="756">
                  <c:v>42009</c:v>
                </c:pt>
                <c:pt idx="757">
                  <c:v>42010</c:v>
                </c:pt>
                <c:pt idx="758">
                  <c:v>42012</c:v>
                </c:pt>
                <c:pt idx="759">
                  <c:v>42013</c:v>
                </c:pt>
                <c:pt idx="760">
                  <c:v>42016</c:v>
                </c:pt>
                <c:pt idx="761">
                  <c:v>42017</c:v>
                </c:pt>
                <c:pt idx="762">
                  <c:v>42018</c:v>
                </c:pt>
                <c:pt idx="763">
                  <c:v>42019</c:v>
                </c:pt>
                <c:pt idx="764">
                  <c:v>42020</c:v>
                </c:pt>
                <c:pt idx="765">
                  <c:v>42023</c:v>
                </c:pt>
                <c:pt idx="766">
                  <c:v>42024</c:v>
                </c:pt>
                <c:pt idx="767">
                  <c:v>42025</c:v>
                </c:pt>
                <c:pt idx="768">
                  <c:v>42026</c:v>
                </c:pt>
                <c:pt idx="769">
                  <c:v>42027</c:v>
                </c:pt>
                <c:pt idx="770">
                  <c:v>42030</c:v>
                </c:pt>
                <c:pt idx="771">
                  <c:v>42031</c:v>
                </c:pt>
                <c:pt idx="772">
                  <c:v>42032</c:v>
                </c:pt>
                <c:pt idx="773">
                  <c:v>42033</c:v>
                </c:pt>
                <c:pt idx="774">
                  <c:v>42034</c:v>
                </c:pt>
                <c:pt idx="775">
                  <c:v>42037</c:v>
                </c:pt>
                <c:pt idx="776">
                  <c:v>42038</c:v>
                </c:pt>
                <c:pt idx="777">
                  <c:v>42039</c:v>
                </c:pt>
                <c:pt idx="778">
                  <c:v>42040</c:v>
                </c:pt>
                <c:pt idx="779">
                  <c:v>42041</c:v>
                </c:pt>
                <c:pt idx="780">
                  <c:v>42044</c:v>
                </c:pt>
                <c:pt idx="781">
                  <c:v>42045</c:v>
                </c:pt>
                <c:pt idx="782">
                  <c:v>42046</c:v>
                </c:pt>
                <c:pt idx="783">
                  <c:v>42047</c:v>
                </c:pt>
                <c:pt idx="784">
                  <c:v>42048</c:v>
                </c:pt>
                <c:pt idx="785">
                  <c:v>42051</c:v>
                </c:pt>
                <c:pt idx="786">
                  <c:v>42052</c:v>
                </c:pt>
                <c:pt idx="787">
                  <c:v>42053</c:v>
                </c:pt>
                <c:pt idx="788">
                  <c:v>42054</c:v>
                </c:pt>
                <c:pt idx="789">
                  <c:v>42055</c:v>
                </c:pt>
                <c:pt idx="790">
                  <c:v>42059</c:v>
                </c:pt>
                <c:pt idx="791">
                  <c:v>42060</c:v>
                </c:pt>
                <c:pt idx="792">
                  <c:v>42061</c:v>
                </c:pt>
                <c:pt idx="793">
                  <c:v>42062</c:v>
                </c:pt>
                <c:pt idx="794">
                  <c:v>42065</c:v>
                </c:pt>
                <c:pt idx="795">
                  <c:v>42066</c:v>
                </c:pt>
                <c:pt idx="796">
                  <c:v>42067</c:v>
                </c:pt>
                <c:pt idx="797">
                  <c:v>42068</c:v>
                </c:pt>
                <c:pt idx="798">
                  <c:v>42069</c:v>
                </c:pt>
                <c:pt idx="799">
                  <c:v>42073</c:v>
                </c:pt>
                <c:pt idx="800">
                  <c:v>42074</c:v>
                </c:pt>
                <c:pt idx="801">
                  <c:v>42075</c:v>
                </c:pt>
                <c:pt idx="802">
                  <c:v>42076</c:v>
                </c:pt>
                <c:pt idx="803">
                  <c:v>42079</c:v>
                </c:pt>
                <c:pt idx="804">
                  <c:v>42080</c:v>
                </c:pt>
                <c:pt idx="805">
                  <c:v>42081</c:v>
                </c:pt>
                <c:pt idx="806">
                  <c:v>42082</c:v>
                </c:pt>
                <c:pt idx="807">
                  <c:v>42083</c:v>
                </c:pt>
                <c:pt idx="808">
                  <c:v>42086</c:v>
                </c:pt>
                <c:pt idx="809">
                  <c:v>42087</c:v>
                </c:pt>
                <c:pt idx="810">
                  <c:v>42088</c:v>
                </c:pt>
                <c:pt idx="811">
                  <c:v>42089</c:v>
                </c:pt>
                <c:pt idx="812">
                  <c:v>42090</c:v>
                </c:pt>
                <c:pt idx="813">
                  <c:v>42093</c:v>
                </c:pt>
                <c:pt idx="814">
                  <c:v>42094</c:v>
                </c:pt>
                <c:pt idx="815">
                  <c:v>42095</c:v>
                </c:pt>
                <c:pt idx="816">
                  <c:v>42096</c:v>
                </c:pt>
                <c:pt idx="817">
                  <c:v>42097</c:v>
                </c:pt>
                <c:pt idx="818">
                  <c:v>42100</c:v>
                </c:pt>
                <c:pt idx="819">
                  <c:v>42101</c:v>
                </c:pt>
                <c:pt idx="820">
                  <c:v>42102</c:v>
                </c:pt>
                <c:pt idx="821">
                  <c:v>42103</c:v>
                </c:pt>
                <c:pt idx="822">
                  <c:v>42104</c:v>
                </c:pt>
                <c:pt idx="823">
                  <c:v>42107</c:v>
                </c:pt>
                <c:pt idx="824">
                  <c:v>42108</c:v>
                </c:pt>
                <c:pt idx="825">
                  <c:v>42109</c:v>
                </c:pt>
                <c:pt idx="826">
                  <c:v>42110</c:v>
                </c:pt>
                <c:pt idx="827">
                  <c:v>42111</c:v>
                </c:pt>
                <c:pt idx="828">
                  <c:v>42114</c:v>
                </c:pt>
                <c:pt idx="829">
                  <c:v>42115</c:v>
                </c:pt>
                <c:pt idx="830">
                  <c:v>42116</c:v>
                </c:pt>
                <c:pt idx="831">
                  <c:v>42117</c:v>
                </c:pt>
                <c:pt idx="832">
                  <c:v>42118</c:v>
                </c:pt>
                <c:pt idx="833">
                  <c:v>42121</c:v>
                </c:pt>
                <c:pt idx="834">
                  <c:v>42122</c:v>
                </c:pt>
                <c:pt idx="835">
                  <c:v>42123</c:v>
                </c:pt>
                <c:pt idx="836">
                  <c:v>42124</c:v>
                </c:pt>
                <c:pt idx="837">
                  <c:v>42129</c:v>
                </c:pt>
                <c:pt idx="838">
                  <c:v>42130</c:v>
                </c:pt>
                <c:pt idx="839">
                  <c:v>42131</c:v>
                </c:pt>
                <c:pt idx="840">
                  <c:v>42132</c:v>
                </c:pt>
                <c:pt idx="841">
                  <c:v>42136</c:v>
                </c:pt>
                <c:pt idx="842">
                  <c:v>42137</c:v>
                </c:pt>
                <c:pt idx="843">
                  <c:v>42138</c:v>
                </c:pt>
                <c:pt idx="844">
                  <c:v>42139</c:v>
                </c:pt>
                <c:pt idx="845">
                  <c:v>42142</c:v>
                </c:pt>
                <c:pt idx="846">
                  <c:v>42143</c:v>
                </c:pt>
                <c:pt idx="847">
                  <c:v>42144</c:v>
                </c:pt>
                <c:pt idx="848">
                  <c:v>42145</c:v>
                </c:pt>
                <c:pt idx="849">
                  <c:v>42146</c:v>
                </c:pt>
                <c:pt idx="850">
                  <c:v>42149</c:v>
                </c:pt>
                <c:pt idx="851">
                  <c:v>42150</c:v>
                </c:pt>
                <c:pt idx="852">
                  <c:v>42151</c:v>
                </c:pt>
                <c:pt idx="853">
                  <c:v>42152</c:v>
                </c:pt>
                <c:pt idx="854">
                  <c:v>42153</c:v>
                </c:pt>
                <c:pt idx="855">
                  <c:v>42156</c:v>
                </c:pt>
                <c:pt idx="856">
                  <c:v>42157</c:v>
                </c:pt>
                <c:pt idx="857">
                  <c:v>42158</c:v>
                </c:pt>
                <c:pt idx="858">
                  <c:v>42159</c:v>
                </c:pt>
                <c:pt idx="859">
                  <c:v>42160</c:v>
                </c:pt>
                <c:pt idx="860">
                  <c:v>42163</c:v>
                </c:pt>
                <c:pt idx="861">
                  <c:v>42164</c:v>
                </c:pt>
                <c:pt idx="862">
                  <c:v>42165</c:v>
                </c:pt>
                <c:pt idx="863">
                  <c:v>42166</c:v>
                </c:pt>
                <c:pt idx="864">
                  <c:v>42170</c:v>
                </c:pt>
                <c:pt idx="865">
                  <c:v>42171</c:v>
                </c:pt>
                <c:pt idx="866">
                  <c:v>42172</c:v>
                </c:pt>
                <c:pt idx="867">
                  <c:v>42173</c:v>
                </c:pt>
                <c:pt idx="868">
                  <c:v>42174</c:v>
                </c:pt>
                <c:pt idx="869">
                  <c:v>42177</c:v>
                </c:pt>
                <c:pt idx="870">
                  <c:v>42178</c:v>
                </c:pt>
                <c:pt idx="871">
                  <c:v>42179</c:v>
                </c:pt>
                <c:pt idx="872">
                  <c:v>42180</c:v>
                </c:pt>
                <c:pt idx="873">
                  <c:v>42181</c:v>
                </c:pt>
                <c:pt idx="874">
                  <c:v>42184</c:v>
                </c:pt>
                <c:pt idx="875">
                  <c:v>42185</c:v>
                </c:pt>
                <c:pt idx="876">
                  <c:v>42186</c:v>
                </c:pt>
                <c:pt idx="877">
                  <c:v>42187</c:v>
                </c:pt>
                <c:pt idx="878">
                  <c:v>42188</c:v>
                </c:pt>
                <c:pt idx="879">
                  <c:v>42191</c:v>
                </c:pt>
                <c:pt idx="880">
                  <c:v>42192</c:v>
                </c:pt>
                <c:pt idx="881">
                  <c:v>42193</c:v>
                </c:pt>
                <c:pt idx="882">
                  <c:v>42194</c:v>
                </c:pt>
                <c:pt idx="883">
                  <c:v>42195</c:v>
                </c:pt>
                <c:pt idx="884">
                  <c:v>42198</c:v>
                </c:pt>
                <c:pt idx="885">
                  <c:v>42199</c:v>
                </c:pt>
                <c:pt idx="886">
                  <c:v>42200</c:v>
                </c:pt>
                <c:pt idx="887">
                  <c:v>42201</c:v>
                </c:pt>
                <c:pt idx="888">
                  <c:v>42202</c:v>
                </c:pt>
                <c:pt idx="889">
                  <c:v>42205</c:v>
                </c:pt>
                <c:pt idx="890">
                  <c:v>42206</c:v>
                </c:pt>
                <c:pt idx="891">
                  <c:v>42207</c:v>
                </c:pt>
                <c:pt idx="892">
                  <c:v>42208</c:v>
                </c:pt>
                <c:pt idx="893">
                  <c:v>42209</c:v>
                </c:pt>
                <c:pt idx="894">
                  <c:v>42212</c:v>
                </c:pt>
                <c:pt idx="895">
                  <c:v>42213</c:v>
                </c:pt>
                <c:pt idx="896">
                  <c:v>42214</c:v>
                </c:pt>
                <c:pt idx="897">
                  <c:v>42215</c:v>
                </c:pt>
                <c:pt idx="898">
                  <c:v>42216</c:v>
                </c:pt>
                <c:pt idx="899">
                  <c:v>42219</c:v>
                </c:pt>
                <c:pt idx="900">
                  <c:v>42220</c:v>
                </c:pt>
                <c:pt idx="901">
                  <c:v>42221</c:v>
                </c:pt>
                <c:pt idx="902">
                  <c:v>42222</c:v>
                </c:pt>
                <c:pt idx="903">
                  <c:v>42223</c:v>
                </c:pt>
                <c:pt idx="904">
                  <c:v>42226</c:v>
                </c:pt>
                <c:pt idx="905">
                  <c:v>42227</c:v>
                </c:pt>
                <c:pt idx="906">
                  <c:v>42228</c:v>
                </c:pt>
                <c:pt idx="907">
                  <c:v>42229</c:v>
                </c:pt>
                <c:pt idx="908">
                  <c:v>42230</c:v>
                </c:pt>
                <c:pt idx="909">
                  <c:v>42233</c:v>
                </c:pt>
                <c:pt idx="910">
                  <c:v>42234</c:v>
                </c:pt>
                <c:pt idx="911">
                  <c:v>42235</c:v>
                </c:pt>
                <c:pt idx="912">
                  <c:v>42236</c:v>
                </c:pt>
                <c:pt idx="913">
                  <c:v>42237</c:v>
                </c:pt>
                <c:pt idx="914">
                  <c:v>42240</c:v>
                </c:pt>
                <c:pt idx="915">
                  <c:v>42241</c:v>
                </c:pt>
                <c:pt idx="916">
                  <c:v>42242</c:v>
                </c:pt>
                <c:pt idx="917">
                  <c:v>42243</c:v>
                </c:pt>
                <c:pt idx="918">
                  <c:v>42244</c:v>
                </c:pt>
                <c:pt idx="919">
                  <c:v>42247</c:v>
                </c:pt>
                <c:pt idx="920">
                  <c:v>42248</c:v>
                </c:pt>
                <c:pt idx="921">
                  <c:v>42249</c:v>
                </c:pt>
                <c:pt idx="922">
                  <c:v>42250</c:v>
                </c:pt>
                <c:pt idx="923">
                  <c:v>42251</c:v>
                </c:pt>
                <c:pt idx="924">
                  <c:v>42254</c:v>
                </c:pt>
                <c:pt idx="925">
                  <c:v>42255</c:v>
                </c:pt>
                <c:pt idx="926">
                  <c:v>42256</c:v>
                </c:pt>
                <c:pt idx="927">
                  <c:v>42257</c:v>
                </c:pt>
                <c:pt idx="928">
                  <c:v>42258</c:v>
                </c:pt>
                <c:pt idx="929">
                  <c:v>42261</c:v>
                </c:pt>
                <c:pt idx="930">
                  <c:v>42262</c:v>
                </c:pt>
                <c:pt idx="931">
                  <c:v>42263</c:v>
                </c:pt>
                <c:pt idx="932">
                  <c:v>42264</c:v>
                </c:pt>
                <c:pt idx="933">
                  <c:v>42265</c:v>
                </c:pt>
                <c:pt idx="934">
                  <c:v>42268</c:v>
                </c:pt>
                <c:pt idx="935">
                  <c:v>42269</c:v>
                </c:pt>
                <c:pt idx="936">
                  <c:v>42270</c:v>
                </c:pt>
                <c:pt idx="937">
                  <c:v>42271</c:v>
                </c:pt>
                <c:pt idx="938">
                  <c:v>42272</c:v>
                </c:pt>
                <c:pt idx="939">
                  <c:v>42275</c:v>
                </c:pt>
                <c:pt idx="940">
                  <c:v>42276</c:v>
                </c:pt>
                <c:pt idx="941">
                  <c:v>42277</c:v>
                </c:pt>
                <c:pt idx="942">
                  <c:v>42278</c:v>
                </c:pt>
                <c:pt idx="943">
                  <c:v>42279</c:v>
                </c:pt>
                <c:pt idx="944">
                  <c:v>42282</c:v>
                </c:pt>
                <c:pt idx="945">
                  <c:v>42283</c:v>
                </c:pt>
                <c:pt idx="946">
                  <c:v>42284</c:v>
                </c:pt>
                <c:pt idx="947">
                  <c:v>42285</c:v>
                </c:pt>
                <c:pt idx="948">
                  <c:v>42286</c:v>
                </c:pt>
                <c:pt idx="949">
                  <c:v>42289</c:v>
                </c:pt>
                <c:pt idx="950">
                  <c:v>42290</c:v>
                </c:pt>
                <c:pt idx="951">
                  <c:v>42291</c:v>
                </c:pt>
                <c:pt idx="952">
                  <c:v>42292</c:v>
                </c:pt>
                <c:pt idx="953">
                  <c:v>42293</c:v>
                </c:pt>
                <c:pt idx="954">
                  <c:v>42296</c:v>
                </c:pt>
                <c:pt idx="955">
                  <c:v>42297</c:v>
                </c:pt>
                <c:pt idx="956">
                  <c:v>42298</c:v>
                </c:pt>
                <c:pt idx="957">
                  <c:v>42299</c:v>
                </c:pt>
                <c:pt idx="958">
                  <c:v>42300</c:v>
                </c:pt>
                <c:pt idx="959">
                  <c:v>42303</c:v>
                </c:pt>
                <c:pt idx="960">
                  <c:v>42304</c:v>
                </c:pt>
                <c:pt idx="961">
                  <c:v>42305</c:v>
                </c:pt>
                <c:pt idx="962">
                  <c:v>42306</c:v>
                </c:pt>
                <c:pt idx="963">
                  <c:v>42307</c:v>
                </c:pt>
                <c:pt idx="964">
                  <c:v>42310</c:v>
                </c:pt>
                <c:pt idx="965">
                  <c:v>42311</c:v>
                </c:pt>
                <c:pt idx="966">
                  <c:v>42313</c:v>
                </c:pt>
                <c:pt idx="967">
                  <c:v>42314</c:v>
                </c:pt>
                <c:pt idx="968">
                  <c:v>42317</c:v>
                </c:pt>
                <c:pt idx="969">
                  <c:v>42318</c:v>
                </c:pt>
                <c:pt idx="970">
                  <c:v>42319</c:v>
                </c:pt>
                <c:pt idx="971">
                  <c:v>42320</c:v>
                </c:pt>
                <c:pt idx="972">
                  <c:v>42321</c:v>
                </c:pt>
                <c:pt idx="973">
                  <c:v>42324</c:v>
                </c:pt>
                <c:pt idx="974">
                  <c:v>42325</c:v>
                </c:pt>
                <c:pt idx="975">
                  <c:v>42326</c:v>
                </c:pt>
                <c:pt idx="976">
                  <c:v>42327</c:v>
                </c:pt>
                <c:pt idx="977">
                  <c:v>42328</c:v>
                </c:pt>
                <c:pt idx="978">
                  <c:v>42331</c:v>
                </c:pt>
                <c:pt idx="979">
                  <c:v>42332</c:v>
                </c:pt>
                <c:pt idx="980">
                  <c:v>42333</c:v>
                </c:pt>
                <c:pt idx="981">
                  <c:v>42334</c:v>
                </c:pt>
                <c:pt idx="982">
                  <c:v>42335</c:v>
                </c:pt>
                <c:pt idx="983">
                  <c:v>42338</c:v>
                </c:pt>
                <c:pt idx="984">
                  <c:v>42339</c:v>
                </c:pt>
                <c:pt idx="985">
                  <c:v>42340</c:v>
                </c:pt>
                <c:pt idx="986">
                  <c:v>42341</c:v>
                </c:pt>
                <c:pt idx="987">
                  <c:v>42342</c:v>
                </c:pt>
                <c:pt idx="988">
                  <c:v>42345</c:v>
                </c:pt>
                <c:pt idx="989">
                  <c:v>42346</c:v>
                </c:pt>
                <c:pt idx="990">
                  <c:v>42347</c:v>
                </c:pt>
                <c:pt idx="991">
                  <c:v>42348</c:v>
                </c:pt>
                <c:pt idx="992">
                  <c:v>42349</c:v>
                </c:pt>
                <c:pt idx="993">
                  <c:v>42352</c:v>
                </c:pt>
                <c:pt idx="994">
                  <c:v>42353</c:v>
                </c:pt>
                <c:pt idx="995">
                  <c:v>42354</c:v>
                </c:pt>
                <c:pt idx="996">
                  <c:v>42355</c:v>
                </c:pt>
                <c:pt idx="997">
                  <c:v>42356</c:v>
                </c:pt>
                <c:pt idx="998">
                  <c:v>42359</c:v>
                </c:pt>
                <c:pt idx="999">
                  <c:v>42360</c:v>
                </c:pt>
                <c:pt idx="1000">
                  <c:v>42361</c:v>
                </c:pt>
                <c:pt idx="1001">
                  <c:v>42362</c:v>
                </c:pt>
                <c:pt idx="1002">
                  <c:v>42363</c:v>
                </c:pt>
                <c:pt idx="1003">
                  <c:v>42366</c:v>
                </c:pt>
                <c:pt idx="1004">
                  <c:v>42367</c:v>
                </c:pt>
                <c:pt idx="1005">
                  <c:v>42368</c:v>
                </c:pt>
                <c:pt idx="1006">
                  <c:v>42373</c:v>
                </c:pt>
                <c:pt idx="1007">
                  <c:v>42374</c:v>
                </c:pt>
                <c:pt idx="1008">
                  <c:v>42375</c:v>
                </c:pt>
                <c:pt idx="1009">
                  <c:v>42380</c:v>
                </c:pt>
                <c:pt idx="1010">
                  <c:v>42381</c:v>
                </c:pt>
                <c:pt idx="1011">
                  <c:v>42382</c:v>
                </c:pt>
                <c:pt idx="1012">
                  <c:v>42383</c:v>
                </c:pt>
                <c:pt idx="1013">
                  <c:v>42384</c:v>
                </c:pt>
                <c:pt idx="1014">
                  <c:v>42387</c:v>
                </c:pt>
                <c:pt idx="1015">
                  <c:v>42388</c:v>
                </c:pt>
                <c:pt idx="1016">
                  <c:v>42389</c:v>
                </c:pt>
                <c:pt idx="1017">
                  <c:v>42390</c:v>
                </c:pt>
                <c:pt idx="1018">
                  <c:v>42391</c:v>
                </c:pt>
                <c:pt idx="1019">
                  <c:v>42394</c:v>
                </c:pt>
                <c:pt idx="1020">
                  <c:v>42395</c:v>
                </c:pt>
                <c:pt idx="1021">
                  <c:v>42396</c:v>
                </c:pt>
                <c:pt idx="1022">
                  <c:v>42397</c:v>
                </c:pt>
                <c:pt idx="1023">
                  <c:v>42398</c:v>
                </c:pt>
                <c:pt idx="1024">
                  <c:v>42401</c:v>
                </c:pt>
                <c:pt idx="1025">
                  <c:v>42402</c:v>
                </c:pt>
                <c:pt idx="1026">
                  <c:v>42403</c:v>
                </c:pt>
                <c:pt idx="1027">
                  <c:v>42404</c:v>
                </c:pt>
                <c:pt idx="1028">
                  <c:v>42405</c:v>
                </c:pt>
                <c:pt idx="1029">
                  <c:v>42408</c:v>
                </c:pt>
                <c:pt idx="1030">
                  <c:v>42409</c:v>
                </c:pt>
                <c:pt idx="1031">
                  <c:v>42410</c:v>
                </c:pt>
                <c:pt idx="1032">
                  <c:v>42411</c:v>
                </c:pt>
                <c:pt idx="1033">
                  <c:v>42412</c:v>
                </c:pt>
                <c:pt idx="1034">
                  <c:v>42415</c:v>
                </c:pt>
                <c:pt idx="1035">
                  <c:v>42416</c:v>
                </c:pt>
                <c:pt idx="1036">
                  <c:v>42417</c:v>
                </c:pt>
                <c:pt idx="1037">
                  <c:v>42418</c:v>
                </c:pt>
                <c:pt idx="1038">
                  <c:v>42419</c:v>
                </c:pt>
                <c:pt idx="1039">
                  <c:v>42420</c:v>
                </c:pt>
                <c:pt idx="1040">
                  <c:v>42422</c:v>
                </c:pt>
                <c:pt idx="1041">
                  <c:v>42424</c:v>
                </c:pt>
                <c:pt idx="1042">
                  <c:v>42425</c:v>
                </c:pt>
                <c:pt idx="1043">
                  <c:v>42426</c:v>
                </c:pt>
                <c:pt idx="1044">
                  <c:v>42429</c:v>
                </c:pt>
                <c:pt idx="1045">
                  <c:v>42430</c:v>
                </c:pt>
                <c:pt idx="1046">
                  <c:v>42431</c:v>
                </c:pt>
                <c:pt idx="1047">
                  <c:v>42432</c:v>
                </c:pt>
                <c:pt idx="1048">
                  <c:v>42433</c:v>
                </c:pt>
                <c:pt idx="1049">
                  <c:v>42436</c:v>
                </c:pt>
                <c:pt idx="1050">
                  <c:v>42438</c:v>
                </c:pt>
                <c:pt idx="1051">
                  <c:v>42439</c:v>
                </c:pt>
                <c:pt idx="1052">
                  <c:v>42440</c:v>
                </c:pt>
                <c:pt idx="1053">
                  <c:v>42443</c:v>
                </c:pt>
                <c:pt idx="1054">
                  <c:v>42444</c:v>
                </c:pt>
                <c:pt idx="1055">
                  <c:v>42445</c:v>
                </c:pt>
                <c:pt idx="1056">
                  <c:v>42446</c:v>
                </c:pt>
                <c:pt idx="1057">
                  <c:v>42447</c:v>
                </c:pt>
                <c:pt idx="1058">
                  <c:v>42450</c:v>
                </c:pt>
                <c:pt idx="1059">
                  <c:v>42451</c:v>
                </c:pt>
                <c:pt idx="1060">
                  <c:v>42452</c:v>
                </c:pt>
                <c:pt idx="1061">
                  <c:v>42453</c:v>
                </c:pt>
                <c:pt idx="1062">
                  <c:v>42454</c:v>
                </c:pt>
                <c:pt idx="1063">
                  <c:v>42457</c:v>
                </c:pt>
                <c:pt idx="1064">
                  <c:v>42458</c:v>
                </c:pt>
                <c:pt idx="1065">
                  <c:v>42459</c:v>
                </c:pt>
                <c:pt idx="1066">
                  <c:v>42460</c:v>
                </c:pt>
                <c:pt idx="1067">
                  <c:v>42461</c:v>
                </c:pt>
                <c:pt idx="1068">
                  <c:v>42464</c:v>
                </c:pt>
                <c:pt idx="1069">
                  <c:v>42465</c:v>
                </c:pt>
                <c:pt idx="1070">
                  <c:v>42466</c:v>
                </c:pt>
                <c:pt idx="1071">
                  <c:v>42467</c:v>
                </c:pt>
                <c:pt idx="1072">
                  <c:v>42468</c:v>
                </c:pt>
                <c:pt idx="1073">
                  <c:v>42471</c:v>
                </c:pt>
                <c:pt idx="1074">
                  <c:v>42472</c:v>
                </c:pt>
                <c:pt idx="1075">
                  <c:v>42473</c:v>
                </c:pt>
                <c:pt idx="1076">
                  <c:v>42474</c:v>
                </c:pt>
                <c:pt idx="1077">
                  <c:v>42475</c:v>
                </c:pt>
                <c:pt idx="1078">
                  <c:v>42478</c:v>
                </c:pt>
                <c:pt idx="1079">
                  <c:v>42479</c:v>
                </c:pt>
                <c:pt idx="1080">
                  <c:v>42480</c:v>
                </c:pt>
                <c:pt idx="1081">
                  <c:v>42481</c:v>
                </c:pt>
                <c:pt idx="1082">
                  <c:v>42482</c:v>
                </c:pt>
                <c:pt idx="1083">
                  <c:v>42485</c:v>
                </c:pt>
                <c:pt idx="1084">
                  <c:v>42486</c:v>
                </c:pt>
                <c:pt idx="1085">
                  <c:v>42487</c:v>
                </c:pt>
                <c:pt idx="1086">
                  <c:v>42488</c:v>
                </c:pt>
                <c:pt idx="1087">
                  <c:v>42489</c:v>
                </c:pt>
                <c:pt idx="1088">
                  <c:v>42494</c:v>
                </c:pt>
                <c:pt idx="1089">
                  <c:v>42495</c:v>
                </c:pt>
                <c:pt idx="1090">
                  <c:v>42496</c:v>
                </c:pt>
                <c:pt idx="1091">
                  <c:v>42500</c:v>
                </c:pt>
                <c:pt idx="1092">
                  <c:v>42501</c:v>
                </c:pt>
                <c:pt idx="1093">
                  <c:v>42502</c:v>
                </c:pt>
                <c:pt idx="1094">
                  <c:v>42503</c:v>
                </c:pt>
                <c:pt idx="1095">
                  <c:v>42506</c:v>
                </c:pt>
                <c:pt idx="1096">
                  <c:v>42507</c:v>
                </c:pt>
                <c:pt idx="1097">
                  <c:v>42508</c:v>
                </c:pt>
                <c:pt idx="1098">
                  <c:v>42509</c:v>
                </c:pt>
                <c:pt idx="1099">
                  <c:v>42510</c:v>
                </c:pt>
                <c:pt idx="1100">
                  <c:v>42513</c:v>
                </c:pt>
                <c:pt idx="1101">
                  <c:v>42514</c:v>
                </c:pt>
                <c:pt idx="1102">
                  <c:v>42515</c:v>
                </c:pt>
                <c:pt idx="1103">
                  <c:v>42516</c:v>
                </c:pt>
                <c:pt idx="1104">
                  <c:v>42517</c:v>
                </c:pt>
                <c:pt idx="1105">
                  <c:v>42520</c:v>
                </c:pt>
                <c:pt idx="1106">
                  <c:v>42521</c:v>
                </c:pt>
                <c:pt idx="1107">
                  <c:v>42522</c:v>
                </c:pt>
                <c:pt idx="1108">
                  <c:v>42523</c:v>
                </c:pt>
                <c:pt idx="1109">
                  <c:v>42524</c:v>
                </c:pt>
                <c:pt idx="1110">
                  <c:v>42527</c:v>
                </c:pt>
                <c:pt idx="1111">
                  <c:v>42528</c:v>
                </c:pt>
                <c:pt idx="1112">
                  <c:v>42529</c:v>
                </c:pt>
                <c:pt idx="1113">
                  <c:v>42530</c:v>
                </c:pt>
                <c:pt idx="1114">
                  <c:v>42531</c:v>
                </c:pt>
                <c:pt idx="1115">
                  <c:v>42535</c:v>
                </c:pt>
                <c:pt idx="1116">
                  <c:v>42536</c:v>
                </c:pt>
                <c:pt idx="1117">
                  <c:v>42537</c:v>
                </c:pt>
                <c:pt idx="1118">
                  <c:v>42538</c:v>
                </c:pt>
                <c:pt idx="1119">
                  <c:v>42541</c:v>
                </c:pt>
                <c:pt idx="1120">
                  <c:v>42542</c:v>
                </c:pt>
                <c:pt idx="1121">
                  <c:v>42543</c:v>
                </c:pt>
                <c:pt idx="1122">
                  <c:v>42544</c:v>
                </c:pt>
                <c:pt idx="1123">
                  <c:v>42545</c:v>
                </c:pt>
                <c:pt idx="1124">
                  <c:v>42548</c:v>
                </c:pt>
                <c:pt idx="1125">
                  <c:v>42549</c:v>
                </c:pt>
                <c:pt idx="1126">
                  <c:v>42550</c:v>
                </c:pt>
                <c:pt idx="1127">
                  <c:v>42551</c:v>
                </c:pt>
                <c:pt idx="1128">
                  <c:v>42552</c:v>
                </c:pt>
                <c:pt idx="1129">
                  <c:v>42555</c:v>
                </c:pt>
                <c:pt idx="1130">
                  <c:v>42556</c:v>
                </c:pt>
                <c:pt idx="1131">
                  <c:v>42557</c:v>
                </c:pt>
                <c:pt idx="1132">
                  <c:v>42558</c:v>
                </c:pt>
                <c:pt idx="1133">
                  <c:v>42559</c:v>
                </c:pt>
                <c:pt idx="1134">
                  <c:v>42562</c:v>
                </c:pt>
                <c:pt idx="1135">
                  <c:v>42563</c:v>
                </c:pt>
                <c:pt idx="1136">
                  <c:v>42564</c:v>
                </c:pt>
                <c:pt idx="1137">
                  <c:v>42565</c:v>
                </c:pt>
                <c:pt idx="1138">
                  <c:v>42566</c:v>
                </c:pt>
                <c:pt idx="1139">
                  <c:v>42569</c:v>
                </c:pt>
                <c:pt idx="1140">
                  <c:v>42570</c:v>
                </c:pt>
                <c:pt idx="1141">
                  <c:v>42571</c:v>
                </c:pt>
                <c:pt idx="1142">
                  <c:v>42572</c:v>
                </c:pt>
                <c:pt idx="1143">
                  <c:v>42573</c:v>
                </c:pt>
                <c:pt idx="1144">
                  <c:v>42576</c:v>
                </c:pt>
                <c:pt idx="1145">
                  <c:v>42577</c:v>
                </c:pt>
                <c:pt idx="1146">
                  <c:v>42578</c:v>
                </c:pt>
                <c:pt idx="1147">
                  <c:v>42579</c:v>
                </c:pt>
                <c:pt idx="1148">
                  <c:v>42580</c:v>
                </c:pt>
                <c:pt idx="1149">
                  <c:v>42583</c:v>
                </c:pt>
                <c:pt idx="1150">
                  <c:v>42584</c:v>
                </c:pt>
                <c:pt idx="1151">
                  <c:v>42585</c:v>
                </c:pt>
                <c:pt idx="1152">
                  <c:v>42586</c:v>
                </c:pt>
                <c:pt idx="1153">
                  <c:v>42587</c:v>
                </c:pt>
                <c:pt idx="1154">
                  <c:v>42590</c:v>
                </c:pt>
                <c:pt idx="1155">
                  <c:v>42591</c:v>
                </c:pt>
                <c:pt idx="1156">
                  <c:v>42592</c:v>
                </c:pt>
                <c:pt idx="1157">
                  <c:v>42593</c:v>
                </c:pt>
                <c:pt idx="1158">
                  <c:v>42594</c:v>
                </c:pt>
                <c:pt idx="1159">
                  <c:v>42597</c:v>
                </c:pt>
                <c:pt idx="1160">
                  <c:v>42598</c:v>
                </c:pt>
                <c:pt idx="1161">
                  <c:v>42599</c:v>
                </c:pt>
                <c:pt idx="1162">
                  <c:v>42600</c:v>
                </c:pt>
                <c:pt idx="1163">
                  <c:v>42601</c:v>
                </c:pt>
                <c:pt idx="1164">
                  <c:v>42604</c:v>
                </c:pt>
                <c:pt idx="1165">
                  <c:v>42605</c:v>
                </c:pt>
                <c:pt idx="1166">
                  <c:v>42606</c:v>
                </c:pt>
                <c:pt idx="1167">
                  <c:v>42607</c:v>
                </c:pt>
                <c:pt idx="1168">
                  <c:v>42608</c:v>
                </c:pt>
                <c:pt idx="1169">
                  <c:v>42611</c:v>
                </c:pt>
                <c:pt idx="1170">
                  <c:v>42612</c:v>
                </c:pt>
                <c:pt idx="1171">
                  <c:v>42613</c:v>
                </c:pt>
                <c:pt idx="1172">
                  <c:v>42614</c:v>
                </c:pt>
                <c:pt idx="1173">
                  <c:v>42615</c:v>
                </c:pt>
                <c:pt idx="1174">
                  <c:v>42618</c:v>
                </c:pt>
                <c:pt idx="1175">
                  <c:v>42619</c:v>
                </c:pt>
                <c:pt idx="1176">
                  <c:v>42620</c:v>
                </c:pt>
                <c:pt idx="1177">
                  <c:v>42621</c:v>
                </c:pt>
                <c:pt idx="1178">
                  <c:v>42622</c:v>
                </c:pt>
                <c:pt idx="1179">
                  <c:v>42625</c:v>
                </c:pt>
                <c:pt idx="1180">
                  <c:v>42626</c:v>
                </c:pt>
                <c:pt idx="1181">
                  <c:v>42627</c:v>
                </c:pt>
                <c:pt idx="1182">
                  <c:v>42628</c:v>
                </c:pt>
                <c:pt idx="1183">
                  <c:v>42629</c:v>
                </c:pt>
                <c:pt idx="1184">
                  <c:v>42632</c:v>
                </c:pt>
                <c:pt idx="1185">
                  <c:v>42633</c:v>
                </c:pt>
                <c:pt idx="1186">
                  <c:v>42634</c:v>
                </c:pt>
                <c:pt idx="1187">
                  <c:v>42635</c:v>
                </c:pt>
                <c:pt idx="1188">
                  <c:v>42636</c:v>
                </c:pt>
                <c:pt idx="1189">
                  <c:v>42639</c:v>
                </c:pt>
                <c:pt idx="1190">
                  <c:v>42640</c:v>
                </c:pt>
                <c:pt idx="1191">
                  <c:v>42641</c:v>
                </c:pt>
                <c:pt idx="1192">
                  <c:v>42642</c:v>
                </c:pt>
                <c:pt idx="1193">
                  <c:v>42643</c:v>
                </c:pt>
                <c:pt idx="1194">
                  <c:v>42646</c:v>
                </c:pt>
                <c:pt idx="1195">
                  <c:v>42647</c:v>
                </c:pt>
                <c:pt idx="1196">
                  <c:v>42648</c:v>
                </c:pt>
                <c:pt idx="1197">
                  <c:v>42649</c:v>
                </c:pt>
                <c:pt idx="1198">
                  <c:v>42650</c:v>
                </c:pt>
                <c:pt idx="1199">
                  <c:v>42653</c:v>
                </c:pt>
                <c:pt idx="1200">
                  <c:v>42654</c:v>
                </c:pt>
                <c:pt idx="1201">
                  <c:v>42655</c:v>
                </c:pt>
                <c:pt idx="1202">
                  <c:v>42656</c:v>
                </c:pt>
                <c:pt idx="1203">
                  <c:v>42657</c:v>
                </c:pt>
                <c:pt idx="1204">
                  <c:v>42660</c:v>
                </c:pt>
                <c:pt idx="1205">
                  <c:v>42661</c:v>
                </c:pt>
                <c:pt idx="1206">
                  <c:v>42662</c:v>
                </c:pt>
                <c:pt idx="1207">
                  <c:v>42663</c:v>
                </c:pt>
                <c:pt idx="1208">
                  <c:v>42664</c:v>
                </c:pt>
                <c:pt idx="1209">
                  <c:v>42667</c:v>
                </c:pt>
                <c:pt idx="1210">
                  <c:v>42668</c:v>
                </c:pt>
                <c:pt idx="1211">
                  <c:v>42669</c:v>
                </c:pt>
                <c:pt idx="1212">
                  <c:v>42670</c:v>
                </c:pt>
                <c:pt idx="1213">
                  <c:v>42671</c:v>
                </c:pt>
                <c:pt idx="1214">
                  <c:v>42674</c:v>
                </c:pt>
                <c:pt idx="1215">
                  <c:v>42675</c:v>
                </c:pt>
                <c:pt idx="1216">
                  <c:v>42676</c:v>
                </c:pt>
                <c:pt idx="1217">
                  <c:v>42677</c:v>
                </c:pt>
                <c:pt idx="1218">
                  <c:v>42681</c:v>
                </c:pt>
                <c:pt idx="1219">
                  <c:v>42682</c:v>
                </c:pt>
                <c:pt idx="1220">
                  <c:v>42683</c:v>
                </c:pt>
                <c:pt idx="1221">
                  <c:v>42684</c:v>
                </c:pt>
                <c:pt idx="1222">
                  <c:v>42685</c:v>
                </c:pt>
                <c:pt idx="1223">
                  <c:v>42688</c:v>
                </c:pt>
                <c:pt idx="1224">
                  <c:v>42689</c:v>
                </c:pt>
                <c:pt idx="1225">
                  <c:v>42690</c:v>
                </c:pt>
                <c:pt idx="1226">
                  <c:v>42691</c:v>
                </c:pt>
                <c:pt idx="1227">
                  <c:v>42692</c:v>
                </c:pt>
                <c:pt idx="1228">
                  <c:v>42695</c:v>
                </c:pt>
                <c:pt idx="1229">
                  <c:v>42696</c:v>
                </c:pt>
                <c:pt idx="1230">
                  <c:v>42697</c:v>
                </c:pt>
                <c:pt idx="1231">
                  <c:v>42698</c:v>
                </c:pt>
                <c:pt idx="1232">
                  <c:v>42699</c:v>
                </c:pt>
                <c:pt idx="1233">
                  <c:v>42702</c:v>
                </c:pt>
                <c:pt idx="1234">
                  <c:v>42703</c:v>
                </c:pt>
                <c:pt idx="1235">
                  <c:v>42704</c:v>
                </c:pt>
                <c:pt idx="1236">
                  <c:v>42705</c:v>
                </c:pt>
                <c:pt idx="1237">
                  <c:v>42706</c:v>
                </c:pt>
                <c:pt idx="1238">
                  <c:v>42709</c:v>
                </c:pt>
                <c:pt idx="1239">
                  <c:v>42710</c:v>
                </c:pt>
                <c:pt idx="1240">
                  <c:v>42711</c:v>
                </c:pt>
                <c:pt idx="1241">
                  <c:v>42712</c:v>
                </c:pt>
                <c:pt idx="1242">
                  <c:v>42713</c:v>
                </c:pt>
                <c:pt idx="1243">
                  <c:v>42716</c:v>
                </c:pt>
                <c:pt idx="1244">
                  <c:v>42717</c:v>
                </c:pt>
                <c:pt idx="1245">
                  <c:v>42718</c:v>
                </c:pt>
                <c:pt idx="1246">
                  <c:v>42719</c:v>
                </c:pt>
                <c:pt idx="1247">
                  <c:v>42720</c:v>
                </c:pt>
                <c:pt idx="1248">
                  <c:v>42723</c:v>
                </c:pt>
                <c:pt idx="1249">
                  <c:v>42724</c:v>
                </c:pt>
                <c:pt idx="1250">
                  <c:v>42725</c:v>
                </c:pt>
                <c:pt idx="1251">
                  <c:v>42726</c:v>
                </c:pt>
                <c:pt idx="1252">
                  <c:v>42727</c:v>
                </c:pt>
                <c:pt idx="1253">
                  <c:v>42730</c:v>
                </c:pt>
                <c:pt idx="1254">
                  <c:v>42731</c:v>
                </c:pt>
                <c:pt idx="1255">
                  <c:v>42732</c:v>
                </c:pt>
                <c:pt idx="1256">
                  <c:v>42733</c:v>
                </c:pt>
                <c:pt idx="1257">
                  <c:v>42734</c:v>
                </c:pt>
                <c:pt idx="1258">
                  <c:v>42738</c:v>
                </c:pt>
                <c:pt idx="1259">
                  <c:v>42739</c:v>
                </c:pt>
                <c:pt idx="1260">
                  <c:v>42740</c:v>
                </c:pt>
                <c:pt idx="1261">
                  <c:v>42741</c:v>
                </c:pt>
                <c:pt idx="1262">
                  <c:v>42744</c:v>
                </c:pt>
                <c:pt idx="1263">
                  <c:v>42745</c:v>
                </c:pt>
                <c:pt idx="1264">
                  <c:v>42746</c:v>
                </c:pt>
                <c:pt idx="1265">
                  <c:v>42747</c:v>
                </c:pt>
                <c:pt idx="1266">
                  <c:v>42748</c:v>
                </c:pt>
                <c:pt idx="1267">
                  <c:v>42751</c:v>
                </c:pt>
                <c:pt idx="1268">
                  <c:v>42752</c:v>
                </c:pt>
                <c:pt idx="1269">
                  <c:v>42753</c:v>
                </c:pt>
                <c:pt idx="1270">
                  <c:v>42754</c:v>
                </c:pt>
                <c:pt idx="1271">
                  <c:v>42755</c:v>
                </c:pt>
                <c:pt idx="1272">
                  <c:v>42758</c:v>
                </c:pt>
                <c:pt idx="1273">
                  <c:v>42759</c:v>
                </c:pt>
                <c:pt idx="1274">
                  <c:v>42760</c:v>
                </c:pt>
                <c:pt idx="1275">
                  <c:v>42761</c:v>
                </c:pt>
                <c:pt idx="1276">
                  <c:v>42762</c:v>
                </c:pt>
                <c:pt idx="1277">
                  <c:v>42765</c:v>
                </c:pt>
                <c:pt idx="1278">
                  <c:v>42766</c:v>
                </c:pt>
                <c:pt idx="1279">
                  <c:v>42767</c:v>
                </c:pt>
                <c:pt idx="1280">
                  <c:v>42768</c:v>
                </c:pt>
                <c:pt idx="1281">
                  <c:v>42769</c:v>
                </c:pt>
                <c:pt idx="1282">
                  <c:v>42772</c:v>
                </c:pt>
                <c:pt idx="1283">
                  <c:v>42773</c:v>
                </c:pt>
                <c:pt idx="1284">
                  <c:v>42774</c:v>
                </c:pt>
                <c:pt idx="1285">
                  <c:v>42775</c:v>
                </c:pt>
                <c:pt idx="1286">
                  <c:v>42776</c:v>
                </c:pt>
                <c:pt idx="1287">
                  <c:v>42779</c:v>
                </c:pt>
                <c:pt idx="1288">
                  <c:v>42780</c:v>
                </c:pt>
                <c:pt idx="1289">
                  <c:v>42781</c:v>
                </c:pt>
                <c:pt idx="1290">
                  <c:v>42782</c:v>
                </c:pt>
                <c:pt idx="1291">
                  <c:v>42783</c:v>
                </c:pt>
                <c:pt idx="1292">
                  <c:v>42786</c:v>
                </c:pt>
                <c:pt idx="1293">
                  <c:v>42787</c:v>
                </c:pt>
                <c:pt idx="1294">
                  <c:v>42788</c:v>
                </c:pt>
                <c:pt idx="1295">
                  <c:v>42790</c:v>
                </c:pt>
                <c:pt idx="1296">
                  <c:v>42793</c:v>
                </c:pt>
                <c:pt idx="1297">
                  <c:v>42794</c:v>
                </c:pt>
                <c:pt idx="1298">
                  <c:v>42795</c:v>
                </c:pt>
                <c:pt idx="1299">
                  <c:v>42796</c:v>
                </c:pt>
                <c:pt idx="1300">
                  <c:v>42797</c:v>
                </c:pt>
                <c:pt idx="1301">
                  <c:v>42800</c:v>
                </c:pt>
                <c:pt idx="1302">
                  <c:v>42801</c:v>
                </c:pt>
                <c:pt idx="1303">
                  <c:v>42803</c:v>
                </c:pt>
                <c:pt idx="1304">
                  <c:v>42804</c:v>
                </c:pt>
                <c:pt idx="1305">
                  <c:v>42807</c:v>
                </c:pt>
                <c:pt idx="1306">
                  <c:v>42808</c:v>
                </c:pt>
                <c:pt idx="1307">
                  <c:v>42809</c:v>
                </c:pt>
                <c:pt idx="1308">
                  <c:v>42810</c:v>
                </c:pt>
                <c:pt idx="1309">
                  <c:v>42811</c:v>
                </c:pt>
                <c:pt idx="1310">
                  <c:v>42814</c:v>
                </c:pt>
                <c:pt idx="1311">
                  <c:v>42815</c:v>
                </c:pt>
                <c:pt idx="1312">
                  <c:v>42816</c:v>
                </c:pt>
                <c:pt idx="1313">
                  <c:v>42817</c:v>
                </c:pt>
                <c:pt idx="1314">
                  <c:v>42818</c:v>
                </c:pt>
                <c:pt idx="1315">
                  <c:v>42821</c:v>
                </c:pt>
                <c:pt idx="1316">
                  <c:v>42822</c:v>
                </c:pt>
                <c:pt idx="1317">
                  <c:v>42823</c:v>
                </c:pt>
                <c:pt idx="1318">
                  <c:v>42824</c:v>
                </c:pt>
                <c:pt idx="1319">
                  <c:v>42825</c:v>
                </c:pt>
                <c:pt idx="1320">
                  <c:v>42828</c:v>
                </c:pt>
                <c:pt idx="1321">
                  <c:v>42829</c:v>
                </c:pt>
                <c:pt idx="1322">
                  <c:v>42830</c:v>
                </c:pt>
                <c:pt idx="1323">
                  <c:v>42831</c:v>
                </c:pt>
                <c:pt idx="1324">
                  <c:v>42832</c:v>
                </c:pt>
                <c:pt idx="1325">
                  <c:v>42835</c:v>
                </c:pt>
                <c:pt idx="1326">
                  <c:v>42836</c:v>
                </c:pt>
                <c:pt idx="1327">
                  <c:v>42837</c:v>
                </c:pt>
                <c:pt idx="1328">
                  <c:v>42838</c:v>
                </c:pt>
                <c:pt idx="1329">
                  <c:v>42839</c:v>
                </c:pt>
                <c:pt idx="1330">
                  <c:v>42842</c:v>
                </c:pt>
                <c:pt idx="1331">
                  <c:v>42843</c:v>
                </c:pt>
                <c:pt idx="1332">
                  <c:v>42844</c:v>
                </c:pt>
                <c:pt idx="1333">
                  <c:v>42845</c:v>
                </c:pt>
                <c:pt idx="1334">
                  <c:v>42846</c:v>
                </c:pt>
                <c:pt idx="1335">
                  <c:v>42849</c:v>
                </c:pt>
                <c:pt idx="1336">
                  <c:v>42850</c:v>
                </c:pt>
                <c:pt idx="1337">
                  <c:v>42851</c:v>
                </c:pt>
                <c:pt idx="1338">
                  <c:v>42852</c:v>
                </c:pt>
                <c:pt idx="1339">
                  <c:v>42853</c:v>
                </c:pt>
                <c:pt idx="1340">
                  <c:v>42857</c:v>
                </c:pt>
                <c:pt idx="1341">
                  <c:v>42858</c:v>
                </c:pt>
                <c:pt idx="1342">
                  <c:v>42859</c:v>
                </c:pt>
                <c:pt idx="1343">
                  <c:v>42860</c:v>
                </c:pt>
                <c:pt idx="1344">
                  <c:v>42865</c:v>
                </c:pt>
                <c:pt idx="1345">
                  <c:v>42866</c:v>
                </c:pt>
                <c:pt idx="1346">
                  <c:v>42867</c:v>
                </c:pt>
                <c:pt idx="1347">
                  <c:v>42870</c:v>
                </c:pt>
                <c:pt idx="1348">
                  <c:v>42871</c:v>
                </c:pt>
                <c:pt idx="1349">
                  <c:v>42872</c:v>
                </c:pt>
                <c:pt idx="1350">
                  <c:v>42873</c:v>
                </c:pt>
                <c:pt idx="1351">
                  <c:v>42874</c:v>
                </c:pt>
                <c:pt idx="1352">
                  <c:v>42877</c:v>
                </c:pt>
                <c:pt idx="1353">
                  <c:v>42878</c:v>
                </c:pt>
                <c:pt idx="1354">
                  <c:v>42879</c:v>
                </c:pt>
                <c:pt idx="1355">
                  <c:v>42880</c:v>
                </c:pt>
                <c:pt idx="1356">
                  <c:v>42881</c:v>
                </c:pt>
                <c:pt idx="1357">
                  <c:v>42884</c:v>
                </c:pt>
                <c:pt idx="1358">
                  <c:v>42885</c:v>
                </c:pt>
                <c:pt idx="1359">
                  <c:v>42886</c:v>
                </c:pt>
                <c:pt idx="1360">
                  <c:v>42887</c:v>
                </c:pt>
                <c:pt idx="1361">
                  <c:v>42888</c:v>
                </c:pt>
                <c:pt idx="1362">
                  <c:v>42891</c:v>
                </c:pt>
                <c:pt idx="1363">
                  <c:v>42892</c:v>
                </c:pt>
                <c:pt idx="1364">
                  <c:v>42893</c:v>
                </c:pt>
                <c:pt idx="1365">
                  <c:v>42894</c:v>
                </c:pt>
                <c:pt idx="1366">
                  <c:v>42895</c:v>
                </c:pt>
                <c:pt idx="1367">
                  <c:v>42899</c:v>
                </c:pt>
                <c:pt idx="1368">
                  <c:v>42900</c:v>
                </c:pt>
                <c:pt idx="1369">
                  <c:v>42901</c:v>
                </c:pt>
                <c:pt idx="1370">
                  <c:v>42902</c:v>
                </c:pt>
                <c:pt idx="1371">
                  <c:v>42905</c:v>
                </c:pt>
                <c:pt idx="1372">
                  <c:v>42906</c:v>
                </c:pt>
                <c:pt idx="1373">
                  <c:v>42907</c:v>
                </c:pt>
                <c:pt idx="1374">
                  <c:v>42908</c:v>
                </c:pt>
                <c:pt idx="1375">
                  <c:v>42909</c:v>
                </c:pt>
                <c:pt idx="1376">
                  <c:v>42912</c:v>
                </c:pt>
                <c:pt idx="1377">
                  <c:v>42913</c:v>
                </c:pt>
                <c:pt idx="1378">
                  <c:v>42914</c:v>
                </c:pt>
                <c:pt idx="1379">
                  <c:v>42915</c:v>
                </c:pt>
                <c:pt idx="1380">
                  <c:v>42916</c:v>
                </c:pt>
                <c:pt idx="1381">
                  <c:v>42919</c:v>
                </c:pt>
                <c:pt idx="1382">
                  <c:v>42920</c:v>
                </c:pt>
                <c:pt idx="1383">
                  <c:v>42921</c:v>
                </c:pt>
                <c:pt idx="1384">
                  <c:v>42922</c:v>
                </c:pt>
                <c:pt idx="1385">
                  <c:v>42923</c:v>
                </c:pt>
                <c:pt idx="1386">
                  <c:v>42926</c:v>
                </c:pt>
                <c:pt idx="1387">
                  <c:v>42927</c:v>
                </c:pt>
                <c:pt idx="1388">
                  <c:v>42928</c:v>
                </c:pt>
                <c:pt idx="1389">
                  <c:v>42929</c:v>
                </c:pt>
                <c:pt idx="1390">
                  <c:v>42930</c:v>
                </c:pt>
                <c:pt idx="1391">
                  <c:v>42933</c:v>
                </c:pt>
                <c:pt idx="1392">
                  <c:v>42934</c:v>
                </c:pt>
                <c:pt idx="1393">
                  <c:v>42935</c:v>
                </c:pt>
                <c:pt idx="1394">
                  <c:v>42936</c:v>
                </c:pt>
                <c:pt idx="1395">
                  <c:v>42937</c:v>
                </c:pt>
                <c:pt idx="1396">
                  <c:v>42940</c:v>
                </c:pt>
                <c:pt idx="1397">
                  <c:v>42941</c:v>
                </c:pt>
                <c:pt idx="1398">
                  <c:v>42942</c:v>
                </c:pt>
                <c:pt idx="1399">
                  <c:v>42943</c:v>
                </c:pt>
                <c:pt idx="1400">
                  <c:v>42944</c:v>
                </c:pt>
                <c:pt idx="1401">
                  <c:v>42947</c:v>
                </c:pt>
                <c:pt idx="1402">
                  <c:v>42948</c:v>
                </c:pt>
                <c:pt idx="1403">
                  <c:v>42949</c:v>
                </c:pt>
                <c:pt idx="1404">
                  <c:v>42950</c:v>
                </c:pt>
                <c:pt idx="1405">
                  <c:v>42951</c:v>
                </c:pt>
                <c:pt idx="1406">
                  <c:v>42954</c:v>
                </c:pt>
                <c:pt idx="1407">
                  <c:v>42955</c:v>
                </c:pt>
                <c:pt idx="1408">
                  <c:v>42956</c:v>
                </c:pt>
                <c:pt idx="1409">
                  <c:v>42957</c:v>
                </c:pt>
                <c:pt idx="1410">
                  <c:v>42958</c:v>
                </c:pt>
                <c:pt idx="1411">
                  <c:v>42961</c:v>
                </c:pt>
                <c:pt idx="1412">
                  <c:v>42962</c:v>
                </c:pt>
                <c:pt idx="1413">
                  <c:v>42963</c:v>
                </c:pt>
                <c:pt idx="1414">
                  <c:v>42964</c:v>
                </c:pt>
                <c:pt idx="1415">
                  <c:v>42965</c:v>
                </c:pt>
                <c:pt idx="1416">
                  <c:v>42968</c:v>
                </c:pt>
                <c:pt idx="1417">
                  <c:v>42969</c:v>
                </c:pt>
                <c:pt idx="1418">
                  <c:v>42970</c:v>
                </c:pt>
                <c:pt idx="1419">
                  <c:v>42971</c:v>
                </c:pt>
                <c:pt idx="1420">
                  <c:v>42972</c:v>
                </c:pt>
                <c:pt idx="1421">
                  <c:v>42975</c:v>
                </c:pt>
                <c:pt idx="1422">
                  <c:v>42976</c:v>
                </c:pt>
                <c:pt idx="1423">
                  <c:v>42977</c:v>
                </c:pt>
                <c:pt idx="1424">
                  <c:v>42978</c:v>
                </c:pt>
                <c:pt idx="1425">
                  <c:v>42979</c:v>
                </c:pt>
                <c:pt idx="1426">
                  <c:v>42982</c:v>
                </c:pt>
                <c:pt idx="1427">
                  <c:v>42983</c:v>
                </c:pt>
                <c:pt idx="1428">
                  <c:v>42984</c:v>
                </c:pt>
                <c:pt idx="1429">
                  <c:v>42985</c:v>
                </c:pt>
                <c:pt idx="1430">
                  <c:v>42986</c:v>
                </c:pt>
                <c:pt idx="1431">
                  <c:v>42989</c:v>
                </c:pt>
                <c:pt idx="1432">
                  <c:v>42990</c:v>
                </c:pt>
                <c:pt idx="1433">
                  <c:v>42991</c:v>
                </c:pt>
                <c:pt idx="1434">
                  <c:v>42992</c:v>
                </c:pt>
                <c:pt idx="1435">
                  <c:v>42993</c:v>
                </c:pt>
                <c:pt idx="1436">
                  <c:v>42996</c:v>
                </c:pt>
                <c:pt idx="1437">
                  <c:v>42997</c:v>
                </c:pt>
                <c:pt idx="1438">
                  <c:v>42998</c:v>
                </c:pt>
                <c:pt idx="1439">
                  <c:v>42999</c:v>
                </c:pt>
                <c:pt idx="1440">
                  <c:v>43000</c:v>
                </c:pt>
                <c:pt idx="1441">
                  <c:v>43003</c:v>
                </c:pt>
                <c:pt idx="1442">
                  <c:v>43004</c:v>
                </c:pt>
                <c:pt idx="1443">
                  <c:v>43005</c:v>
                </c:pt>
                <c:pt idx="1444">
                  <c:v>43006</c:v>
                </c:pt>
                <c:pt idx="1445">
                  <c:v>43007</c:v>
                </c:pt>
                <c:pt idx="1446">
                  <c:v>43010</c:v>
                </c:pt>
                <c:pt idx="1447">
                  <c:v>43011</c:v>
                </c:pt>
                <c:pt idx="1448">
                  <c:v>43012</c:v>
                </c:pt>
                <c:pt idx="1449">
                  <c:v>43013</c:v>
                </c:pt>
                <c:pt idx="1450">
                  <c:v>43014</c:v>
                </c:pt>
                <c:pt idx="1451">
                  <c:v>43017</c:v>
                </c:pt>
                <c:pt idx="1452">
                  <c:v>43018</c:v>
                </c:pt>
                <c:pt idx="1453">
                  <c:v>43019</c:v>
                </c:pt>
                <c:pt idx="1454">
                  <c:v>43020</c:v>
                </c:pt>
                <c:pt idx="1455">
                  <c:v>43021</c:v>
                </c:pt>
                <c:pt idx="1456">
                  <c:v>43024</c:v>
                </c:pt>
                <c:pt idx="1457">
                  <c:v>43025</c:v>
                </c:pt>
                <c:pt idx="1458">
                  <c:v>43026</c:v>
                </c:pt>
                <c:pt idx="1459">
                  <c:v>43027</c:v>
                </c:pt>
                <c:pt idx="1460">
                  <c:v>43028</c:v>
                </c:pt>
                <c:pt idx="1461">
                  <c:v>43031</c:v>
                </c:pt>
                <c:pt idx="1462">
                  <c:v>43032</c:v>
                </c:pt>
                <c:pt idx="1463">
                  <c:v>43033</c:v>
                </c:pt>
                <c:pt idx="1464">
                  <c:v>43034</c:v>
                </c:pt>
                <c:pt idx="1465">
                  <c:v>43035</c:v>
                </c:pt>
                <c:pt idx="1466">
                  <c:v>43038</c:v>
                </c:pt>
                <c:pt idx="1467">
                  <c:v>43039</c:v>
                </c:pt>
                <c:pt idx="1468">
                  <c:v>43040</c:v>
                </c:pt>
                <c:pt idx="1469">
                  <c:v>43041</c:v>
                </c:pt>
                <c:pt idx="1470">
                  <c:v>43042</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3</c:v>
                </c:pt>
                <c:pt idx="1511">
                  <c:v>43104</c:v>
                </c:pt>
                <c:pt idx="1512">
                  <c:v>43105</c:v>
                </c:pt>
                <c:pt idx="1513">
                  <c:v>43109</c:v>
                </c:pt>
                <c:pt idx="1514">
                  <c:v>43110</c:v>
                </c:pt>
                <c:pt idx="1515">
                  <c:v>43111</c:v>
                </c:pt>
                <c:pt idx="1516">
                  <c:v>43112</c:v>
                </c:pt>
                <c:pt idx="1517">
                  <c:v>43115</c:v>
                </c:pt>
                <c:pt idx="1518">
                  <c:v>43116</c:v>
                </c:pt>
                <c:pt idx="1519">
                  <c:v>43117</c:v>
                </c:pt>
                <c:pt idx="1520">
                  <c:v>43118</c:v>
                </c:pt>
                <c:pt idx="1521">
                  <c:v>43119</c:v>
                </c:pt>
                <c:pt idx="1522">
                  <c:v>43122</c:v>
                </c:pt>
                <c:pt idx="1523">
                  <c:v>43123</c:v>
                </c:pt>
                <c:pt idx="1524">
                  <c:v>43124</c:v>
                </c:pt>
                <c:pt idx="1525">
                  <c:v>43125</c:v>
                </c:pt>
                <c:pt idx="1526">
                  <c:v>43126</c:v>
                </c:pt>
                <c:pt idx="1527">
                  <c:v>43129</c:v>
                </c:pt>
                <c:pt idx="1528">
                  <c:v>43130</c:v>
                </c:pt>
                <c:pt idx="1529">
                  <c:v>43131</c:v>
                </c:pt>
                <c:pt idx="1530">
                  <c:v>43132</c:v>
                </c:pt>
                <c:pt idx="1531">
                  <c:v>43133</c:v>
                </c:pt>
                <c:pt idx="1532">
                  <c:v>43136</c:v>
                </c:pt>
                <c:pt idx="1533">
                  <c:v>43137</c:v>
                </c:pt>
                <c:pt idx="1534">
                  <c:v>43138</c:v>
                </c:pt>
                <c:pt idx="1535">
                  <c:v>43139</c:v>
                </c:pt>
                <c:pt idx="1536">
                  <c:v>43140</c:v>
                </c:pt>
                <c:pt idx="1537">
                  <c:v>43143</c:v>
                </c:pt>
                <c:pt idx="1538">
                  <c:v>43144</c:v>
                </c:pt>
                <c:pt idx="1539">
                  <c:v>43145</c:v>
                </c:pt>
                <c:pt idx="1540">
                  <c:v>43146</c:v>
                </c:pt>
                <c:pt idx="1541">
                  <c:v>43147</c:v>
                </c:pt>
                <c:pt idx="1542">
                  <c:v>43150</c:v>
                </c:pt>
                <c:pt idx="1543">
                  <c:v>43151</c:v>
                </c:pt>
                <c:pt idx="1544">
                  <c:v>43152</c:v>
                </c:pt>
                <c:pt idx="1545">
                  <c:v>43153</c:v>
                </c:pt>
                <c:pt idx="1546">
                  <c:v>43157</c:v>
                </c:pt>
                <c:pt idx="1547">
                  <c:v>43158</c:v>
                </c:pt>
                <c:pt idx="1548">
                  <c:v>43159</c:v>
                </c:pt>
                <c:pt idx="1549">
                  <c:v>43160</c:v>
                </c:pt>
                <c:pt idx="1550">
                  <c:v>43161</c:v>
                </c:pt>
                <c:pt idx="1551">
                  <c:v>43164</c:v>
                </c:pt>
                <c:pt idx="1552">
                  <c:v>43165</c:v>
                </c:pt>
                <c:pt idx="1553">
                  <c:v>43166</c:v>
                </c:pt>
                <c:pt idx="1554">
                  <c:v>43168</c:v>
                </c:pt>
                <c:pt idx="1555">
                  <c:v>43171</c:v>
                </c:pt>
                <c:pt idx="1556">
                  <c:v>43172</c:v>
                </c:pt>
                <c:pt idx="1557">
                  <c:v>43173</c:v>
                </c:pt>
                <c:pt idx="1558">
                  <c:v>43174</c:v>
                </c:pt>
                <c:pt idx="1559">
                  <c:v>43175</c:v>
                </c:pt>
                <c:pt idx="1560">
                  <c:v>43178</c:v>
                </c:pt>
                <c:pt idx="1561">
                  <c:v>43179</c:v>
                </c:pt>
                <c:pt idx="1562">
                  <c:v>43180</c:v>
                </c:pt>
                <c:pt idx="1563">
                  <c:v>43181</c:v>
                </c:pt>
                <c:pt idx="1564">
                  <c:v>43182</c:v>
                </c:pt>
                <c:pt idx="1565">
                  <c:v>43185</c:v>
                </c:pt>
                <c:pt idx="1566">
                  <c:v>43186</c:v>
                </c:pt>
                <c:pt idx="1567">
                  <c:v>43187</c:v>
                </c:pt>
                <c:pt idx="1568">
                  <c:v>43188</c:v>
                </c:pt>
                <c:pt idx="1569">
                  <c:v>43189</c:v>
                </c:pt>
                <c:pt idx="1570">
                  <c:v>43192</c:v>
                </c:pt>
                <c:pt idx="1571">
                  <c:v>43193</c:v>
                </c:pt>
                <c:pt idx="1572">
                  <c:v>43194</c:v>
                </c:pt>
                <c:pt idx="1573">
                  <c:v>43195</c:v>
                </c:pt>
                <c:pt idx="1574">
                  <c:v>43196</c:v>
                </c:pt>
                <c:pt idx="1575">
                  <c:v>43199</c:v>
                </c:pt>
                <c:pt idx="1576">
                  <c:v>43200</c:v>
                </c:pt>
                <c:pt idx="1577">
                  <c:v>43201</c:v>
                </c:pt>
                <c:pt idx="1578">
                  <c:v>43202</c:v>
                </c:pt>
                <c:pt idx="1579">
                  <c:v>43203</c:v>
                </c:pt>
                <c:pt idx="1580">
                  <c:v>43206</c:v>
                </c:pt>
                <c:pt idx="1581">
                  <c:v>43207</c:v>
                </c:pt>
                <c:pt idx="1582">
                  <c:v>43208</c:v>
                </c:pt>
                <c:pt idx="1583">
                  <c:v>43209</c:v>
                </c:pt>
                <c:pt idx="1584">
                  <c:v>43210</c:v>
                </c:pt>
                <c:pt idx="1585">
                  <c:v>43213</c:v>
                </c:pt>
                <c:pt idx="1586">
                  <c:v>43214</c:v>
                </c:pt>
                <c:pt idx="1587">
                  <c:v>43215</c:v>
                </c:pt>
                <c:pt idx="1588">
                  <c:v>43216</c:v>
                </c:pt>
                <c:pt idx="1589">
                  <c:v>43217</c:v>
                </c:pt>
                <c:pt idx="1590">
                  <c:v>43218</c:v>
                </c:pt>
                <c:pt idx="1591">
                  <c:v>43220</c:v>
                </c:pt>
                <c:pt idx="1592">
                  <c:v>43222</c:v>
                </c:pt>
                <c:pt idx="1593">
                  <c:v>43223</c:v>
                </c:pt>
                <c:pt idx="1594">
                  <c:v>43224</c:v>
                </c:pt>
                <c:pt idx="1595">
                  <c:v>43227</c:v>
                </c:pt>
                <c:pt idx="1596">
                  <c:v>43228</c:v>
                </c:pt>
                <c:pt idx="1597">
                  <c:v>43230</c:v>
                </c:pt>
                <c:pt idx="1598">
                  <c:v>43231</c:v>
                </c:pt>
                <c:pt idx="1599">
                  <c:v>43234</c:v>
                </c:pt>
                <c:pt idx="1600">
                  <c:v>43235</c:v>
                </c:pt>
                <c:pt idx="1601">
                  <c:v>43236</c:v>
                </c:pt>
                <c:pt idx="1602">
                  <c:v>43237</c:v>
                </c:pt>
                <c:pt idx="1603">
                  <c:v>43238</c:v>
                </c:pt>
                <c:pt idx="1604">
                  <c:v>43241</c:v>
                </c:pt>
                <c:pt idx="1605">
                  <c:v>43242</c:v>
                </c:pt>
                <c:pt idx="1606">
                  <c:v>43243</c:v>
                </c:pt>
                <c:pt idx="1607">
                  <c:v>43244</c:v>
                </c:pt>
                <c:pt idx="1608">
                  <c:v>43245</c:v>
                </c:pt>
                <c:pt idx="1609">
                  <c:v>43248</c:v>
                </c:pt>
                <c:pt idx="1610">
                  <c:v>43249</c:v>
                </c:pt>
                <c:pt idx="1611">
                  <c:v>43250</c:v>
                </c:pt>
                <c:pt idx="1612">
                  <c:v>43251</c:v>
                </c:pt>
                <c:pt idx="1613">
                  <c:v>43252</c:v>
                </c:pt>
                <c:pt idx="1614">
                  <c:v>43255</c:v>
                </c:pt>
                <c:pt idx="1615">
                  <c:v>43256</c:v>
                </c:pt>
                <c:pt idx="1616">
                  <c:v>43257</c:v>
                </c:pt>
                <c:pt idx="1617">
                  <c:v>43258</c:v>
                </c:pt>
                <c:pt idx="1618">
                  <c:v>43259</c:v>
                </c:pt>
                <c:pt idx="1619">
                  <c:v>43260</c:v>
                </c:pt>
                <c:pt idx="1620">
                  <c:v>43262</c:v>
                </c:pt>
                <c:pt idx="1621">
                  <c:v>43264</c:v>
                </c:pt>
                <c:pt idx="1622">
                  <c:v>43265</c:v>
                </c:pt>
                <c:pt idx="1623">
                  <c:v>43266</c:v>
                </c:pt>
                <c:pt idx="1624">
                  <c:v>43269</c:v>
                </c:pt>
                <c:pt idx="1625">
                  <c:v>43270</c:v>
                </c:pt>
                <c:pt idx="1626">
                  <c:v>43271</c:v>
                </c:pt>
                <c:pt idx="1627">
                  <c:v>43272</c:v>
                </c:pt>
                <c:pt idx="1628">
                  <c:v>43273</c:v>
                </c:pt>
                <c:pt idx="1629">
                  <c:v>43276</c:v>
                </c:pt>
                <c:pt idx="1630">
                  <c:v>43277</c:v>
                </c:pt>
                <c:pt idx="1631">
                  <c:v>43278</c:v>
                </c:pt>
                <c:pt idx="1632">
                  <c:v>43279</c:v>
                </c:pt>
                <c:pt idx="1633">
                  <c:v>43280</c:v>
                </c:pt>
                <c:pt idx="1634">
                  <c:v>43283</c:v>
                </c:pt>
                <c:pt idx="1635">
                  <c:v>43284</c:v>
                </c:pt>
                <c:pt idx="1636">
                  <c:v>43285</c:v>
                </c:pt>
                <c:pt idx="1637">
                  <c:v>43286</c:v>
                </c:pt>
                <c:pt idx="1638">
                  <c:v>43287</c:v>
                </c:pt>
                <c:pt idx="1639">
                  <c:v>43290</c:v>
                </c:pt>
                <c:pt idx="1640">
                  <c:v>43291</c:v>
                </c:pt>
                <c:pt idx="1641">
                  <c:v>43292</c:v>
                </c:pt>
                <c:pt idx="1642">
                  <c:v>43293</c:v>
                </c:pt>
                <c:pt idx="1643">
                  <c:v>43294</c:v>
                </c:pt>
                <c:pt idx="1644">
                  <c:v>43297</c:v>
                </c:pt>
                <c:pt idx="1645">
                  <c:v>43298</c:v>
                </c:pt>
                <c:pt idx="1646">
                  <c:v>43299</c:v>
                </c:pt>
                <c:pt idx="1647">
                  <c:v>43300</c:v>
                </c:pt>
                <c:pt idx="1648">
                  <c:v>43301</c:v>
                </c:pt>
                <c:pt idx="1649">
                  <c:v>43304</c:v>
                </c:pt>
                <c:pt idx="1650">
                  <c:v>43305</c:v>
                </c:pt>
                <c:pt idx="1651">
                  <c:v>43306</c:v>
                </c:pt>
                <c:pt idx="1652">
                  <c:v>43307</c:v>
                </c:pt>
                <c:pt idx="1653">
                  <c:v>43308</c:v>
                </c:pt>
                <c:pt idx="1654">
                  <c:v>43311</c:v>
                </c:pt>
                <c:pt idx="1655">
                  <c:v>43312</c:v>
                </c:pt>
                <c:pt idx="1656">
                  <c:v>43313</c:v>
                </c:pt>
                <c:pt idx="1657">
                  <c:v>43314</c:v>
                </c:pt>
                <c:pt idx="1658">
                  <c:v>43315</c:v>
                </c:pt>
                <c:pt idx="1659">
                  <c:v>43318</c:v>
                </c:pt>
                <c:pt idx="1660">
                  <c:v>43319</c:v>
                </c:pt>
                <c:pt idx="1661">
                  <c:v>43320</c:v>
                </c:pt>
                <c:pt idx="1662">
                  <c:v>43321</c:v>
                </c:pt>
                <c:pt idx="1663">
                  <c:v>43322</c:v>
                </c:pt>
                <c:pt idx="1664">
                  <c:v>43325</c:v>
                </c:pt>
                <c:pt idx="1665">
                  <c:v>43326</c:v>
                </c:pt>
                <c:pt idx="1666">
                  <c:v>43327</c:v>
                </c:pt>
                <c:pt idx="1667">
                  <c:v>43328</c:v>
                </c:pt>
                <c:pt idx="1668">
                  <c:v>43329</c:v>
                </c:pt>
                <c:pt idx="1669">
                  <c:v>43332</c:v>
                </c:pt>
                <c:pt idx="1670">
                  <c:v>43333</c:v>
                </c:pt>
                <c:pt idx="1671">
                  <c:v>43334</c:v>
                </c:pt>
                <c:pt idx="1672">
                  <c:v>43335</c:v>
                </c:pt>
                <c:pt idx="1673">
                  <c:v>43336</c:v>
                </c:pt>
                <c:pt idx="1674">
                  <c:v>43339</c:v>
                </c:pt>
                <c:pt idx="1675">
                  <c:v>43340</c:v>
                </c:pt>
                <c:pt idx="1676">
                  <c:v>43341</c:v>
                </c:pt>
                <c:pt idx="1677">
                  <c:v>43342</c:v>
                </c:pt>
                <c:pt idx="1678">
                  <c:v>43343</c:v>
                </c:pt>
                <c:pt idx="1679">
                  <c:v>43346</c:v>
                </c:pt>
                <c:pt idx="1680">
                  <c:v>43347</c:v>
                </c:pt>
                <c:pt idx="1681">
                  <c:v>43348</c:v>
                </c:pt>
                <c:pt idx="1682">
                  <c:v>43349</c:v>
                </c:pt>
                <c:pt idx="1683">
                  <c:v>43350</c:v>
                </c:pt>
                <c:pt idx="1684">
                  <c:v>43353</c:v>
                </c:pt>
                <c:pt idx="1685">
                  <c:v>43354</c:v>
                </c:pt>
                <c:pt idx="1686">
                  <c:v>43355</c:v>
                </c:pt>
                <c:pt idx="1687">
                  <c:v>43356</c:v>
                </c:pt>
                <c:pt idx="1688">
                  <c:v>43357</c:v>
                </c:pt>
                <c:pt idx="1689">
                  <c:v>43360</c:v>
                </c:pt>
                <c:pt idx="1690">
                  <c:v>43361</c:v>
                </c:pt>
                <c:pt idx="1691">
                  <c:v>43362</c:v>
                </c:pt>
                <c:pt idx="1692">
                  <c:v>43363</c:v>
                </c:pt>
                <c:pt idx="1693">
                  <c:v>43364</c:v>
                </c:pt>
                <c:pt idx="1694">
                  <c:v>43367</c:v>
                </c:pt>
                <c:pt idx="1695">
                  <c:v>43368</c:v>
                </c:pt>
                <c:pt idx="1696">
                  <c:v>43369</c:v>
                </c:pt>
                <c:pt idx="1697">
                  <c:v>43370</c:v>
                </c:pt>
                <c:pt idx="1698">
                  <c:v>43371</c:v>
                </c:pt>
                <c:pt idx="1699">
                  <c:v>43374</c:v>
                </c:pt>
                <c:pt idx="1700">
                  <c:v>43375</c:v>
                </c:pt>
                <c:pt idx="1701">
                  <c:v>43376</c:v>
                </c:pt>
                <c:pt idx="1702">
                  <c:v>43377</c:v>
                </c:pt>
                <c:pt idx="1703">
                  <c:v>43378</c:v>
                </c:pt>
                <c:pt idx="1704">
                  <c:v>43381</c:v>
                </c:pt>
                <c:pt idx="1705">
                  <c:v>43382</c:v>
                </c:pt>
                <c:pt idx="1706">
                  <c:v>43383</c:v>
                </c:pt>
                <c:pt idx="1707">
                  <c:v>43384</c:v>
                </c:pt>
                <c:pt idx="1708">
                  <c:v>43385</c:v>
                </c:pt>
                <c:pt idx="1709">
                  <c:v>43388</c:v>
                </c:pt>
                <c:pt idx="1710">
                  <c:v>43389</c:v>
                </c:pt>
                <c:pt idx="1711">
                  <c:v>43390</c:v>
                </c:pt>
                <c:pt idx="1712">
                  <c:v>43391</c:v>
                </c:pt>
                <c:pt idx="1713">
                  <c:v>43392</c:v>
                </c:pt>
                <c:pt idx="1714">
                  <c:v>43395</c:v>
                </c:pt>
                <c:pt idx="1715">
                  <c:v>43396</c:v>
                </c:pt>
                <c:pt idx="1716">
                  <c:v>43397</c:v>
                </c:pt>
                <c:pt idx="1717">
                  <c:v>43398</c:v>
                </c:pt>
                <c:pt idx="1718">
                  <c:v>43399</c:v>
                </c:pt>
                <c:pt idx="1719">
                  <c:v>43402</c:v>
                </c:pt>
                <c:pt idx="1720">
                  <c:v>43403</c:v>
                </c:pt>
                <c:pt idx="1721">
                  <c:v>43404</c:v>
                </c:pt>
                <c:pt idx="1722">
                  <c:v>43405</c:v>
                </c:pt>
                <c:pt idx="1723">
                  <c:v>43406</c:v>
                </c:pt>
                <c:pt idx="1724">
                  <c:v>43410</c:v>
                </c:pt>
                <c:pt idx="1725">
                  <c:v>43411</c:v>
                </c:pt>
                <c:pt idx="1726">
                  <c:v>43412</c:v>
                </c:pt>
                <c:pt idx="1727">
                  <c:v>43413</c:v>
                </c:pt>
                <c:pt idx="1728">
                  <c:v>43416</c:v>
                </c:pt>
                <c:pt idx="1729">
                  <c:v>43417</c:v>
                </c:pt>
                <c:pt idx="1730">
                  <c:v>43418</c:v>
                </c:pt>
                <c:pt idx="1731">
                  <c:v>43419</c:v>
                </c:pt>
                <c:pt idx="1732">
                  <c:v>43420</c:v>
                </c:pt>
                <c:pt idx="1733">
                  <c:v>43423</c:v>
                </c:pt>
                <c:pt idx="1734">
                  <c:v>43424</c:v>
                </c:pt>
                <c:pt idx="1735">
                  <c:v>43425</c:v>
                </c:pt>
                <c:pt idx="1736">
                  <c:v>43426</c:v>
                </c:pt>
                <c:pt idx="1737">
                  <c:v>43427</c:v>
                </c:pt>
                <c:pt idx="1738">
                  <c:v>43430</c:v>
                </c:pt>
                <c:pt idx="1739">
                  <c:v>43431</c:v>
                </c:pt>
                <c:pt idx="1740">
                  <c:v>43432</c:v>
                </c:pt>
                <c:pt idx="1741">
                  <c:v>43433</c:v>
                </c:pt>
                <c:pt idx="1742">
                  <c:v>43434</c:v>
                </c:pt>
                <c:pt idx="1743">
                  <c:v>43437</c:v>
                </c:pt>
              </c:numCache>
            </c:numRef>
          </c:cat>
          <c:val>
            <c:numRef>
              <c:f>значения!$G$2:$G$1745</c:f>
              <c:numCache>
                <c:formatCode>0.00%</c:formatCode>
                <c:ptCount val="1744"/>
                <c:pt idx="0">
                  <c:v>1</c:v>
                </c:pt>
                <c:pt idx="1">
                  <c:v>1.0421342586603715</c:v>
                </c:pt>
                <c:pt idx="2">
                  <c:v>1.044742641857447</c:v>
                </c:pt>
                <c:pt idx="3">
                  <c:v>1.0300923356688085</c:v>
                </c:pt>
                <c:pt idx="4">
                  <c:v>1.032221274038571</c:v>
                </c:pt>
                <c:pt idx="5">
                  <c:v>1.0368666428711277</c:v>
                </c:pt>
                <c:pt idx="6">
                  <c:v>1.0563852837886416</c:v>
                </c:pt>
                <c:pt idx="7">
                  <c:v>1.0513702573280865</c:v>
                </c:pt>
                <c:pt idx="8">
                  <c:v>1.0537927979255104</c:v>
                </c:pt>
                <c:pt idx="9">
                  <c:v>1.0535913146930491</c:v>
                </c:pt>
                <c:pt idx="10">
                  <c:v>1.0579248302751809</c:v>
                </c:pt>
                <c:pt idx="11">
                  <c:v>1.0751716595920839</c:v>
                </c:pt>
                <c:pt idx="12">
                  <c:v>1.0799109140572496</c:v>
                </c:pt>
                <c:pt idx="13">
                  <c:v>1.0850468678725311</c:v>
                </c:pt>
                <c:pt idx="14">
                  <c:v>1.0775355926575751</c:v>
                </c:pt>
                <c:pt idx="15">
                  <c:v>1.0846038118354144</c:v>
                </c:pt>
                <c:pt idx="16">
                  <c:v>1.0736653158423868</c:v>
                </c:pt>
                <c:pt idx="17">
                  <c:v>1.0785945162201998</c:v>
                </c:pt>
                <c:pt idx="18">
                  <c:v>1.0870266401894502</c:v>
                </c:pt>
                <c:pt idx="19">
                  <c:v>1.082608422347852</c:v>
                </c:pt>
                <c:pt idx="20">
                  <c:v>1.074047606576507</c:v>
                </c:pt>
                <c:pt idx="21">
                  <c:v>1.0854909140323648</c:v>
                </c:pt>
                <c:pt idx="22">
                  <c:v>1.1004625162616797</c:v>
                </c:pt>
                <c:pt idx="23">
                  <c:v>1.1022593376495198</c:v>
                </c:pt>
                <c:pt idx="24">
                  <c:v>1.1186250258634229</c:v>
                </c:pt>
                <c:pt idx="25">
                  <c:v>1.1155901185371893</c:v>
                </c:pt>
                <c:pt idx="26">
                  <c:v>1.1038508364643342</c:v>
                </c:pt>
                <c:pt idx="27">
                  <c:v>1.102088403879073</c:v>
                </c:pt>
                <c:pt idx="28">
                  <c:v>1.0912272279029402</c:v>
                </c:pt>
                <c:pt idx="29">
                  <c:v>1.0809646315503392</c:v>
                </c:pt>
                <c:pt idx="30">
                  <c:v>1.1099590505977301</c:v>
                </c:pt>
                <c:pt idx="31">
                  <c:v>1.1087458492553033</c:v>
                </c:pt>
                <c:pt idx="32">
                  <c:v>1.1247030379497844</c:v>
                </c:pt>
                <c:pt idx="33">
                  <c:v>1.1189211565606334</c:v>
                </c:pt>
                <c:pt idx="34">
                  <c:v>1.1169451145701035</c:v>
                </c:pt>
                <c:pt idx="35">
                  <c:v>1.1250616007530496</c:v>
                </c:pt>
                <c:pt idx="36">
                  <c:v>1.1123446437784024</c:v>
                </c:pt>
                <c:pt idx="37">
                  <c:v>1.1015293850584635</c:v>
                </c:pt>
                <c:pt idx="38">
                  <c:v>1.1323767285518955</c:v>
                </c:pt>
                <c:pt idx="39">
                  <c:v>1.1323479312344096</c:v>
                </c:pt>
                <c:pt idx="40">
                  <c:v>1.119507242637297</c:v>
                </c:pt>
                <c:pt idx="41">
                  <c:v>1.1346323148157476</c:v>
                </c:pt>
                <c:pt idx="42">
                  <c:v>1.1328534065543836</c:v>
                </c:pt>
                <c:pt idx="43">
                  <c:v>1.1396986048138749</c:v>
                </c:pt>
                <c:pt idx="44">
                  <c:v>1.153091793406672</c:v>
                </c:pt>
                <c:pt idx="45">
                  <c:v>1.1061006949463588</c:v>
                </c:pt>
                <c:pt idx="46">
                  <c:v>1.1115772215030237</c:v>
                </c:pt>
                <c:pt idx="47">
                  <c:v>1.1334774591863963</c:v>
                </c:pt>
                <c:pt idx="48">
                  <c:v>1.1302818620771764</c:v>
                </c:pt>
                <c:pt idx="49">
                  <c:v>1.1290246048975008</c:v>
                </c:pt>
                <c:pt idx="50">
                  <c:v>1.1370148108327667</c:v>
                </c:pt>
                <c:pt idx="51">
                  <c:v>1.1375783872009706</c:v>
                </c:pt>
                <c:pt idx="52">
                  <c:v>1.1283919311379489</c:v>
                </c:pt>
                <c:pt idx="53">
                  <c:v>1.108958676353943</c:v>
                </c:pt>
                <c:pt idx="54">
                  <c:v>1.0916608811944539</c:v>
                </c:pt>
                <c:pt idx="55">
                  <c:v>1.0838353997774819</c:v>
                </c:pt>
                <c:pt idx="56">
                  <c:v>1.0719810582738463</c:v>
                </c:pt>
                <c:pt idx="57">
                  <c:v>1.0740878825549041</c:v>
                </c:pt>
                <c:pt idx="58">
                  <c:v>1.0300660711843455</c:v>
                </c:pt>
                <c:pt idx="59">
                  <c:v>1.0281086645102551</c:v>
                </c:pt>
                <c:pt idx="60">
                  <c:v>1.0138017851649215</c:v>
                </c:pt>
                <c:pt idx="61">
                  <c:v>0.99348431360162037</c:v>
                </c:pt>
                <c:pt idx="62">
                  <c:v>1.0086799450749115</c:v>
                </c:pt>
                <c:pt idx="63">
                  <c:v>1.0133661884738345</c:v>
                </c:pt>
                <c:pt idx="64">
                  <c:v>1.0275207346270212</c:v>
                </c:pt>
                <c:pt idx="65">
                  <c:v>1.0105328543592826</c:v>
                </c:pt>
                <c:pt idx="66">
                  <c:v>1.0111012780272335</c:v>
                </c:pt>
                <c:pt idx="67">
                  <c:v>0.99452694589662172</c:v>
                </c:pt>
                <c:pt idx="68">
                  <c:v>1.0036617435577271</c:v>
                </c:pt>
                <c:pt idx="69">
                  <c:v>0.99845230714736832</c:v>
                </c:pt>
                <c:pt idx="70">
                  <c:v>0.99744825233313217</c:v>
                </c:pt>
                <c:pt idx="71">
                  <c:v>0.99439738305531911</c:v>
                </c:pt>
                <c:pt idx="72">
                  <c:v>0.99714177234759804</c:v>
                </c:pt>
                <c:pt idx="73">
                  <c:v>0.98453084473445807</c:v>
                </c:pt>
                <c:pt idx="74">
                  <c:v>0.97925886628245473</c:v>
                </c:pt>
                <c:pt idx="75">
                  <c:v>0.9776258118021901</c:v>
                </c:pt>
                <c:pt idx="76">
                  <c:v>0.99605421349172074</c:v>
                </c:pt>
                <c:pt idx="77">
                  <c:v>1.0012847891525054</c:v>
                </c:pt>
                <c:pt idx="78">
                  <c:v>0.97554122227495177</c:v>
                </c:pt>
                <c:pt idx="79">
                  <c:v>0.97052810993948901</c:v>
                </c:pt>
                <c:pt idx="80">
                  <c:v>0.97084207273108891</c:v>
                </c:pt>
                <c:pt idx="81">
                  <c:v>0.96382352371634772</c:v>
                </c:pt>
                <c:pt idx="82">
                  <c:v>0.97869235549905331</c:v>
                </c:pt>
                <c:pt idx="83">
                  <c:v>0.98205995065491136</c:v>
                </c:pt>
                <c:pt idx="84">
                  <c:v>0.97219092529113837</c:v>
                </c:pt>
                <c:pt idx="85">
                  <c:v>0.9715899103789416</c:v>
                </c:pt>
                <c:pt idx="86">
                  <c:v>0.93652088048532756</c:v>
                </c:pt>
                <c:pt idx="87">
                  <c:v>0.93030867170185405</c:v>
                </c:pt>
                <c:pt idx="88">
                  <c:v>0.93235519302932024</c:v>
                </c:pt>
                <c:pt idx="89">
                  <c:v>0.92907815443707531</c:v>
                </c:pt>
                <c:pt idx="90">
                  <c:v>0.94392999406990574</c:v>
                </c:pt>
                <c:pt idx="91">
                  <c:v>0.93749072785140264</c:v>
                </c:pt>
                <c:pt idx="92">
                  <c:v>0.93423191525871618</c:v>
                </c:pt>
                <c:pt idx="93">
                  <c:v>0.90747128223647888</c:v>
                </c:pt>
                <c:pt idx="94">
                  <c:v>0.91662038722511174</c:v>
                </c:pt>
                <c:pt idx="95">
                  <c:v>0.91329387686752705</c:v>
                </c:pt>
                <c:pt idx="96">
                  <c:v>0.88981305221172968</c:v>
                </c:pt>
                <c:pt idx="97">
                  <c:v>0.88607740391777567</c:v>
                </c:pt>
                <c:pt idx="98">
                  <c:v>0.89857686219801303</c:v>
                </c:pt>
                <c:pt idx="99">
                  <c:v>0.89946043144587529</c:v>
                </c:pt>
                <c:pt idx="100">
                  <c:v>0.88174501734813659</c:v>
                </c:pt>
                <c:pt idx="101">
                  <c:v>0.89756420070552323</c:v>
                </c:pt>
                <c:pt idx="102">
                  <c:v>0.89572676458065215</c:v>
                </c:pt>
                <c:pt idx="103">
                  <c:v>0.89958169788126452</c:v>
                </c:pt>
                <c:pt idx="104">
                  <c:v>0.92591302511773532</c:v>
                </c:pt>
                <c:pt idx="105">
                  <c:v>0.92076988580904828</c:v>
                </c:pt>
                <c:pt idx="106">
                  <c:v>0.92910364548188173</c:v>
                </c:pt>
                <c:pt idx="107">
                  <c:v>0.92521848386610972</c:v>
                </c:pt>
                <c:pt idx="108">
                  <c:v>0.92963922011671785</c:v>
                </c:pt>
                <c:pt idx="109">
                  <c:v>0.92249505898302975</c:v>
                </c:pt>
                <c:pt idx="110">
                  <c:v>0.92720752301754328</c:v>
                </c:pt>
                <c:pt idx="111">
                  <c:v>0.93755411549252043</c:v>
                </c:pt>
                <c:pt idx="112">
                  <c:v>0.93498520449824263</c:v>
                </c:pt>
                <c:pt idx="113">
                  <c:v>0.93841645590452216</c:v>
                </c:pt>
                <c:pt idx="114">
                  <c:v>0.94169670966989139</c:v>
                </c:pt>
                <c:pt idx="115">
                  <c:v>0.94112418130501985</c:v>
                </c:pt>
                <c:pt idx="116">
                  <c:v>0.96026640711013544</c:v>
                </c:pt>
                <c:pt idx="117">
                  <c:v>0.96751401046778618</c:v>
                </c:pt>
                <c:pt idx="118">
                  <c:v>0.97048074718778288</c:v>
                </c:pt>
                <c:pt idx="119">
                  <c:v>0.96041198257064619</c:v>
                </c:pt>
                <c:pt idx="120">
                  <c:v>0.95649194244397839</c:v>
                </c:pt>
                <c:pt idx="121">
                  <c:v>0.94581858420315801</c:v>
                </c:pt>
                <c:pt idx="122">
                  <c:v>0.93482856529607017</c:v>
                </c:pt>
                <c:pt idx="123">
                  <c:v>0.94294590792227406</c:v>
                </c:pt>
                <c:pt idx="124">
                  <c:v>0.95870787322383999</c:v>
                </c:pt>
                <c:pt idx="125">
                  <c:v>0.94529439500110923</c:v>
                </c:pt>
                <c:pt idx="126">
                  <c:v>0.97032998461551534</c:v>
                </c:pt>
                <c:pt idx="127">
                  <c:v>0.97923751561951378</c:v>
                </c:pt>
                <c:pt idx="128">
                  <c:v>0.99949452427788099</c:v>
                </c:pt>
                <c:pt idx="129">
                  <c:v>1.0044636102588635</c:v>
                </c:pt>
                <c:pt idx="130">
                  <c:v>1.0002811669691034</c:v>
                </c:pt>
                <c:pt idx="131">
                  <c:v>0.98578364089926207</c:v>
                </c:pt>
                <c:pt idx="132">
                  <c:v>0.9844559801267776</c:v>
                </c:pt>
                <c:pt idx="133">
                  <c:v>0.98814999687042049</c:v>
                </c:pt>
                <c:pt idx="134">
                  <c:v>0.97567124756807799</c:v>
                </c:pt>
                <c:pt idx="135">
                  <c:v>0.96828084905645029</c:v>
                </c:pt>
                <c:pt idx="136">
                  <c:v>0.97769942709954893</c:v>
                </c:pt>
                <c:pt idx="137">
                  <c:v>0.98026801989588253</c:v>
                </c:pt>
                <c:pt idx="138">
                  <c:v>0.98865314670446514</c:v>
                </c:pt>
                <c:pt idx="139">
                  <c:v>0.98205739740508458</c:v>
                </c:pt>
                <c:pt idx="140">
                  <c:v>0.98886742717100506</c:v>
                </c:pt>
                <c:pt idx="141">
                  <c:v>0.97820952932691585</c:v>
                </c:pt>
                <c:pt idx="142">
                  <c:v>0.95051331827559682</c:v>
                </c:pt>
                <c:pt idx="143">
                  <c:v>0.94629617086601836</c:v>
                </c:pt>
                <c:pt idx="144">
                  <c:v>0.94383016960276589</c:v>
                </c:pt>
                <c:pt idx="145">
                  <c:v>0.95465444251084264</c:v>
                </c:pt>
                <c:pt idx="146">
                  <c:v>0.96948174970624112</c:v>
                </c:pt>
                <c:pt idx="147">
                  <c:v>0.98406026807445679</c:v>
                </c:pt>
                <c:pt idx="148">
                  <c:v>0.96820700492300604</c:v>
                </c:pt>
                <c:pt idx="149">
                  <c:v>0.97389802465645459</c:v>
                </c:pt>
                <c:pt idx="150">
                  <c:v>0.95950331660052479</c:v>
                </c:pt>
                <c:pt idx="151">
                  <c:v>0.97433191146817466</c:v>
                </c:pt>
                <c:pt idx="152">
                  <c:v>0.98333770404910514</c:v>
                </c:pt>
                <c:pt idx="153">
                  <c:v>0.99331690135314477</c:v>
                </c:pt>
                <c:pt idx="154">
                  <c:v>0.99038195302934107</c:v>
                </c:pt>
                <c:pt idx="155">
                  <c:v>0.9939802711576704</c:v>
                </c:pt>
                <c:pt idx="156">
                  <c:v>0.98380394330396181</c:v>
                </c:pt>
                <c:pt idx="157">
                  <c:v>0.98837723317566439</c:v>
                </c:pt>
                <c:pt idx="158">
                  <c:v>0.9950022946914534</c:v>
                </c:pt>
                <c:pt idx="159">
                  <c:v>0.98268286403283922</c:v>
                </c:pt>
                <c:pt idx="160">
                  <c:v>0.9857928776450352</c:v>
                </c:pt>
                <c:pt idx="161">
                  <c:v>0.98297310288656436</c:v>
                </c:pt>
                <c:pt idx="162">
                  <c:v>0.97189947896156703</c:v>
                </c:pt>
                <c:pt idx="163">
                  <c:v>0.98524877392529187</c:v>
                </c:pt>
                <c:pt idx="164">
                  <c:v>0.98038540042373212</c:v>
                </c:pt>
                <c:pt idx="165">
                  <c:v>0.98621511447381272</c:v>
                </c:pt>
                <c:pt idx="166">
                  <c:v>0.98553972384781863</c:v>
                </c:pt>
                <c:pt idx="167">
                  <c:v>0.98191129140186129</c:v>
                </c:pt>
                <c:pt idx="168">
                  <c:v>0.98285184782657598</c:v>
                </c:pt>
                <c:pt idx="169">
                  <c:v>0.97142253866654937</c:v>
                </c:pt>
                <c:pt idx="170">
                  <c:v>0.96393784661359971</c:v>
                </c:pt>
                <c:pt idx="171">
                  <c:v>0.95515055390630688</c:v>
                </c:pt>
                <c:pt idx="172">
                  <c:v>0.96665669081507133</c:v>
                </c:pt>
                <c:pt idx="173">
                  <c:v>0.96585587058763445</c:v>
                </c:pt>
                <c:pt idx="174">
                  <c:v>0.95563926301457158</c:v>
                </c:pt>
                <c:pt idx="175">
                  <c:v>0.98316459189687955</c:v>
                </c:pt>
                <c:pt idx="176">
                  <c:v>0.99958921418418301</c:v>
                </c:pt>
                <c:pt idx="177">
                  <c:v>1.001818593187378</c:v>
                </c:pt>
                <c:pt idx="178">
                  <c:v>1.0040964203162757</c:v>
                </c:pt>
                <c:pt idx="179">
                  <c:v>1.0045254785973681</c:v>
                </c:pt>
                <c:pt idx="180">
                  <c:v>1.0012581354712928</c:v>
                </c:pt>
                <c:pt idx="181">
                  <c:v>1.0410437967745092</c:v>
                </c:pt>
                <c:pt idx="182">
                  <c:v>1.0394298960912611</c:v>
                </c:pt>
                <c:pt idx="183">
                  <c:v>1.0304341470215233</c:v>
                </c:pt>
                <c:pt idx="184">
                  <c:v>1.027239979096503</c:v>
                </c:pt>
                <c:pt idx="185">
                  <c:v>1.0282782203889225</c:v>
                </c:pt>
                <c:pt idx="186">
                  <c:v>1.0231277775396752</c:v>
                </c:pt>
                <c:pt idx="187">
                  <c:v>1.016740633776636</c:v>
                </c:pt>
                <c:pt idx="188">
                  <c:v>1.0116983510688693</c:v>
                </c:pt>
                <c:pt idx="189">
                  <c:v>0.98564618298060191</c:v>
                </c:pt>
                <c:pt idx="190">
                  <c:v>0.9937885909580505</c:v>
                </c:pt>
                <c:pt idx="191">
                  <c:v>0.99629235644413083</c:v>
                </c:pt>
                <c:pt idx="192">
                  <c:v>1.0158853027808175</c:v>
                </c:pt>
                <c:pt idx="193">
                  <c:v>1.0106633294322214</c:v>
                </c:pt>
                <c:pt idx="194">
                  <c:v>0.99883264511495551</c:v>
                </c:pt>
                <c:pt idx="195">
                  <c:v>0.98918310576964175</c:v>
                </c:pt>
                <c:pt idx="196">
                  <c:v>1.004331161514276</c:v>
                </c:pt>
                <c:pt idx="197">
                  <c:v>1.0014100124511436</c:v>
                </c:pt>
                <c:pt idx="198">
                  <c:v>1.003715784543721</c:v>
                </c:pt>
                <c:pt idx="199">
                  <c:v>0.9927286229812462</c:v>
                </c:pt>
                <c:pt idx="200">
                  <c:v>0.99344610523494259</c:v>
                </c:pt>
                <c:pt idx="201">
                  <c:v>0.98198411732706292</c:v>
                </c:pt>
                <c:pt idx="202">
                  <c:v>0.97876609549537053</c:v>
                </c:pt>
                <c:pt idx="203">
                  <c:v>0.98682954275041701</c:v>
                </c:pt>
                <c:pt idx="204">
                  <c:v>0.99679903966613337</c:v>
                </c:pt>
                <c:pt idx="205">
                  <c:v>0.9983002431351633</c:v>
                </c:pt>
                <c:pt idx="206">
                  <c:v>0.98513484831823395</c:v>
                </c:pt>
                <c:pt idx="207">
                  <c:v>0.99713619559956046</c:v>
                </c:pt>
                <c:pt idx="208">
                  <c:v>0.99138832326507298</c:v>
                </c:pt>
                <c:pt idx="209">
                  <c:v>0.99373230433064796</c:v>
                </c:pt>
                <c:pt idx="210">
                  <c:v>0.99285814839600772</c:v>
                </c:pt>
                <c:pt idx="211">
                  <c:v>0.98732458752417007</c:v>
                </c:pt>
                <c:pt idx="212">
                  <c:v>0.98800604792658098</c:v>
                </c:pt>
                <c:pt idx="213">
                  <c:v>0.98304667156725178</c:v>
                </c:pt>
                <c:pt idx="214">
                  <c:v>0.98570864991095819</c:v>
                </c:pt>
                <c:pt idx="215">
                  <c:v>0.99795362338078886</c:v>
                </c:pt>
                <c:pt idx="216">
                  <c:v>1.0045139187037286</c:v>
                </c:pt>
                <c:pt idx="217">
                  <c:v>1.0069446145719605</c:v>
                </c:pt>
                <c:pt idx="218">
                  <c:v>0.98999572178114981</c:v>
                </c:pt>
                <c:pt idx="219">
                  <c:v>0.98513454486700058</c:v>
                </c:pt>
                <c:pt idx="220">
                  <c:v>0.97961825076421027</c:v>
                </c:pt>
                <c:pt idx="221">
                  <c:v>0.98103158541924218</c:v>
                </c:pt>
                <c:pt idx="222">
                  <c:v>0.96555731145301837</c:v>
                </c:pt>
                <c:pt idx="223">
                  <c:v>0.96581419761135467</c:v>
                </c:pt>
                <c:pt idx="224">
                  <c:v>0.97236272945528812</c:v>
                </c:pt>
                <c:pt idx="225">
                  <c:v>0.96765771570888726</c:v>
                </c:pt>
                <c:pt idx="226">
                  <c:v>0.97536300798043696</c:v>
                </c:pt>
                <c:pt idx="227">
                  <c:v>0.97540595047718903</c:v>
                </c:pt>
                <c:pt idx="228">
                  <c:v>0.98045268434373656</c:v>
                </c:pt>
                <c:pt idx="229">
                  <c:v>0.9750402854899145</c:v>
                </c:pt>
                <c:pt idx="230">
                  <c:v>0.97947409256741824</c:v>
                </c:pt>
                <c:pt idx="231">
                  <c:v>0.97360797652310116</c:v>
                </c:pt>
                <c:pt idx="232">
                  <c:v>0.96900234079576875</c:v>
                </c:pt>
                <c:pt idx="233">
                  <c:v>0.96150535921531066</c:v>
                </c:pt>
                <c:pt idx="234">
                  <c:v>0.96783829732382987</c:v>
                </c:pt>
                <c:pt idx="235">
                  <c:v>0.97464976502935663</c:v>
                </c:pt>
                <c:pt idx="236">
                  <c:v>0.98458480372864399</c:v>
                </c:pt>
                <c:pt idx="237">
                  <c:v>0.97632018359855699</c:v>
                </c:pt>
                <c:pt idx="238">
                  <c:v>0.99599216785992284</c:v>
                </c:pt>
                <c:pt idx="239">
                  <c:v>1.0005331519464769</c:v>
                </c:pt>
                <c:pt idx="240">
                  <c:v>1.0045528230065159</c:v>
                </c:pt>
                <c:pt idx="241">
                  <c:v>1.0096679179204686</c:v>
                </c:pt>
                <c:pt idx="242">
                  <c:v>1.0059328955728513</c:v>
                </c:pt>
                <c:pt idx="243">
                  <c:v>1.0210081682575165</c:v>
                </c:pt>
                <c:pt idx="244">
                  <c:v>1.0206182742726149</c:v>
                </c:pt>
                <c:pt idx="245">
                  <c:v>1.0251014609698059</c:v>
                </c:pt>
                <c:pt idx="246">
                  <c:v>1.0349596673531223</c:v>
                </c:pt>
                <c:pt idx="247">
                  <c:v>1.0419227712006711</c:v>
                </c:pt>
                <c:pt idx="248">
                  <c:v>1.041538555140626</c:v>
                </c:pt>
                <c:pt idx="249">
                  <c:v>1.0502765813167783</c:v>
                </c:pt>
                <c:pt idx="250">
                  <c:v>1.0423637859197401</c:v>
                </c:pt>
                <c:pt idx="251">
                  <c:v>1.0383117893956966</c:v>
                </c:pt>
                <c:pt idx="252">
                  <c:v>1.041283845022368</c:v>
                </c:pt>
                <c:pt idx="253">
                  <c:v>1.0453129744731851</c:v>
                </c:pt>
                <c:pt idx="254">
                  <c:v>1.0433041828514371</c:v>
                </c:pt>
                <c:pt idx="255">
                  <c:v>1.0385671763973185</c:v>
                </c:pt>
                <c:pt idx="256">
                  <c:v>1.0576133362498894</c:v>
                </c:pt>
                <c:pt idx="257">
                  <c:v>1.0596842600259586</c:v>
                </c:pt>
                <c:pt idx="258">
                  <c:v>1.0542916422126447</c:v>
                </c:pt>
                <c:pt idx="259">
                  <c:v>1.0564985991624682</c:v>
                </c:pt>
                <c:pt idx="260">
                  <c:v>1.0663622796846652</c:v>
                </c:pt>
                <c:pt idx="261">
                  <c:v>1.0556342738543456</c:v>
                </c:pt>
                <c:pt idx="262">
                  <c:v>1.0526858750162604</c:v>
                </c:pt>
                <c:pt idx="263">
                  <c:v>1.0545966940819529</c:v>
                </c:pt>
                <c:pt idx="264">
                  <c:v>1.0626694583586116</c:v>
                </c:pt>
                <c:pt idx="265">
                  <c:v>1.0603973762697738</c:v>
                </c:pt>
                <c:pt idx="266">
                  <c:v>1.055703404168931</c:v>
                </c:pt>
                <c:pt idx="267">
                  <c:v>1.0607207313198326</c:v>
                </c:pt>
                <c:pt idx="268">
                  <c:v>1.061878423347657</c:v>
                </c:pt>
                <c:pt idx="269">
                  <c:v>1.0678825334712492</c:v>
                </c:pt>
                <c:pt idx="270">
                  <c:v>1.0727526902572939</c:v>
                </c:pt>
                <c:pt idx="271">
                  <c:v>1.0597256384726457</c:v>
                </c:pt>
                <c:pt idx="272">
                  <c:v>1.0495022522840207</c:v>
                </c:pt>
                <c:pt idx="273">
                  <c:v>1.050306150235919</c:v>
                </c:pt>
                <c:pt idx="274">
                  <c:v>1.0519472400917695</c:v>
                </c:pt>
                <c:pt idx="275">
                  <c:v>1.0429320678170704</c:v>
                </c:pt>
                <c:pt idx="276">
                  <c:v>1.0469778591131103</c:v>
                </c:pt>
                <c:pt idx="277">
                  <c:v>1.0390781134448426</c:v>
                </c:pt>
                <c:pt idx="278">
                  <c:v>1.036900596177186</c:v>
                </c:pt>
                <c:pt idx="279">
                  <c:v>1.0305186233361847</c:v>
                </c:pt>
                <c:pt idx="280">
                  <c:v>1.0276790102743401</c:v>
                </c:pt>
                <c:pt idx="281">
                  <c:v>1.0204210711310153</c:v>
                </c:pt>
                <c:pt idx="282">
                  <c:v>1.0421568678880062</c:v>
                </c:pt>
                <c:pt idx="283">
                  <c:v>1.0284768175451047</c:v>
                </c:pt>
                <c:pt idx="284">
                  <c:v>1.0215742109748971</c:v>
                </c:pt>
                <c:pt idx="285">
                  <c:v>1.019301109827466</c:v>
                </c:pt>
                <c:pt idx="286">
                  <c:v>1.027391163900583</c:v>
                </c:pt>
                <c:pt idx="287">
                  <c:v>1.0197804755725921</c:v>
                </c:pt>
                <c:pt idx="288">
                  <c:v>1.0091888405606755</c:v>
                </c:pt>
                <c:pt idx="289">
                  <c:v>1.0126887225689829</c:v>
                </c:pt>
                <c:pt idx="290">
                  <c:v>1.0165165323447636</c:v>
                </c:pt>
                <c:pt idx="291">
                  <c:v>1.0047194822925811</c:v>
                </c:pt>
                <c:pt idx="292">
                  <c:v>1.0094035072632643</c:v>
                </c:pt>
                <c:pt idx="293">
                  <c:v>0.99933520427033018</c:v>
                </c:pt>
                <c:pt idx="294">
                  <c:v>0.99556390463805899</c:v>
                </c:pt>
                <c:pt idx="295">
                  <c:v>0.99028501700985505</c:v>
                </c:pt>
                <c:pt idx="296">
                  <c:v>1.002783225029003</c:v>
                </c:pt>
                <c:pt idx="297">
                  <c:v>1.0065799472265706</c:v>
                </c:pt>
                <c:pt idx="298">
                  <c:v>1.0064968208395484</c:v>
                </c:pt>
                <c:pt idx="299">
                  <c:v>1.0149910865294229</c:v>
                </c:pt>
                <c:pt idx="300">
                  <c:v>1.013908149441783</c:v>
                </c:pt>
                <c:pt idx="301">
                  <c:v>1.0099527944788393</c:v>
                </c:pt>
                <c:pt idx="302">
                  <c:v>1.0088178210746725</c:v>
                </c:pt>
                <c:pt idx="303">
                  <c:v>1.0060325704672801</c:v>
                </c:pt>
                <c:pt idx="304">
                  <c:v>0.98565050451915825</c:v>
                </c:pt>
                <c:pt idx="305">
                  <c:v>0.97653007820047355</c:v>
                </c:pt>
                <c:pt idx="306">
                  <c:v>0.9795577441547566</c:v>
                </c:pt>
                <c:pt idx="307">
                  <c:v>0.98183967089522806</c:v>
                </c:pt>
                <c:pt idx="308">
                  <c:v>0.97395704487193502</c:v>
                </c:pt>
                <c:pt idx="309">
                  <c:v>0.96578449568626401</c:v>
                </c:pt>
                <c:pt idx="310">
                  <c:v>0.96005854333750074</c:v>
                </c:pt>
                <c:pt idx="311">
                  <c:v>0.96450943415310431</c:v>
                </c:pt>
                <c:pt idx="312">
                  <c:v>0.96836036308708695</c:v>
                </c:pt>
                <c:pt idx="313">
                  <c:v>0.97216115175292195</c:v>
                </c:pt>
                <c:pt idx="314">
                  <c:v>0.96387882395437186</c:v>
                </c:pt>
                <c:pt idx="315">
                  <c:v>0.96299400018048209</c:v>
                </c:pt>
                <c:pt idx="316">
                  <c:v>0.95876740627441503</c:v>
                </c:pt>
                <c:pt idx="317">
                  <c:v>0.95920373653965862</c:v>
                </c:pt>
                <c:pt idx="318">
                  <c:v>0.94966464548243545</c:v>
                </c:pt>
                <c:pt idx="319">
                  <c:v>0.93938465971829777</c:v>
                </c:pt>
                <c:pt idx="320">
                  <c:v>0.95146852354625711</c:v>
                </c:pt>
                <c:pt idx="321">
                  <c:v>0.94963369806082842</c:v>
                </c:pt>
                <c:pt idx="322">
                  <c:v>0.93288083221410201</c:v>
                </c:pt>
                <c:pt idx="323">
                  <c:v>0.92918048056638325</c:v>
                </c:pt>
                <c:pt idx="324">
                  <c:v>0.91294105821376514</c:v>
                </c:pt>
                <c:pt idx="325">
                  <c:v>0.90883305328907704</c:v>
                </c:pt>
                <c:pt idx="326">
                  <c:v>0.89967484551098442</c:v>
                </c:pt>
                <c:pt idx="327">
                  <c:v>0.89699184807343169</c:v>
                </c:pt>
                <c:pt idx="328">
                  <c:v>0.89935098971014971</c:v>
                </c:pt>
                <c:pt idx="329">
                  <c:v>0.89964691687350939</c:v>
                </c:pt>
                <c:pt idx="330">
                  <c:v>0.90320139987170422</c:v>
                </c:pt>
                <c:pt idx="331">
                  <c:v>0.93006673793066363</c:v>
                </c:pt>
                <c:pt idx="332">
                  <c:v>0.92711726561820007</c:v>
                </c:pt>
                <c:pt idx="333">
                  <c:v>0.92460636511247352</c:v>
                </c:pt>
                <c:pt idx="334">
                  <c:v>0.92141276646223425</c:v>
                </c:pt>
                <c:pt idx="335">
                  <c:v>0.92995315712404514</c:v>
                </c:pt>
                <c:pt idx="336">
                  <c:v>0.91633570217987581</c:v>
                </c:pt>
                <c:pt idx="337">
                  <c:v>0.93625671367599295</c:v>
                </c:pt>
                <c:pt idx="338">
                  <c:v>0.94274170729235396</c:v>
                </c:pt>
                <c:pt idx="339">
                  <c:v>0.9491610339441312</c:v>
                </c:pt>
                <c:pt idx="340">
                  <c:v>0.9532069563537191</c:v>
                </c:pt>
                <c:pt idx="341">
                  <c:v>0.95199962091521761</c:v>
                </c:pt>
                <c:pt idx="342">
                  <c:v>0.94312653193533924</c:v>
                </c:pt>
                <c:pt idx="343">
                  <c:v>0.93031175127763399</c:v>
                </c:pt>
                <c:pt idx="344">
                  <c:v>0.92043969026022254</c:v>
                </c:pt>
                <c:pt idx="345">
                  <c:v>0.90504229518697199</c:v>
                </c:pt>
                <c:pt idx="346">
                  <c:v>0.92192371903486103</c:v>
                </c:pt>
                <c:pt idx="347">
                  <c:v>0.92293367671282178</c:v>
                </c:pt>
                <c:pt idx="348">
                  <c:v>0.93494037726883605</c:v>
                </c:pt>
                <c:pt idx="349">
                  <c:v>0.95054607164055793</c:v>
                </c:pt>
                <c:pt idx="350">
                  <c:v>0.91971451212581501</c:v>
                </c:pt>
                <c:pt idx="351">
                  <c:v>0.91067341247665168</c:v>
                </c:pt>
                <c:pt idx="352">
                  <c:v>0.90801466099087125</c:v>
                </c:pt>
                <c:pt idx="353">
                  <c:v>0.91920937810813974</c:v>
                </c:pt>
                <c:pt idx="354">
                  <c:v>0.89987684667545143</c:v>
                </c:pt>
                <c:pt idx="355">
                  <c:v>0.90091663378758136</c:v>
                </c:pt>
                <c:pt idx="356">
                  <c:v>0.89752145839406794</c:v>
                </c:pt>
                <c:pt idx="357">
                  <c:v>0.89082746875758612</c:v>
                </c:pt>
                <c:pt idx="358">
                  <c:v>0.89569542354301479</c:v>
                </c:pt>
                <c:pt idx="359">
                  <c:v>0.88603475142692711</c:v>
                </c:pt>
                <c:pt idx="360">
                  <c:v>0.87938488792030367</c:v>
                </c:pt>
                <c:pt idx="361">
                  <c:v>0.89660098975358915</c:v>
                </c:pt>
                <c:pt idx="362">
                  <c:v>0.88845661626560812</c:v>
                </c:pt>
                <c:pt idx="363">
                  <c:v>0.86493560570383077</c:v>
                </c:pt>
                <c:pt idx="364">
                  <c:v>0.85529487949121552</c:v>
                </c:pt>
                <c:pt idx="365">
                  <c:v>0.86764124019930444</c:v>
                </c:pt>
                <c:pt idx="366">
                  <c:v>0.88160332418409149</c:v>
                </c:pt>
                <c:pt idx="367">
                  <c:v>0.88777673063512108</c:v>
                </c:pt>
                <c:pt idx="368">
                  <c:v>0.88569488418309905</c:v>
                </c:pt>
                <c:pt idx="369">
                  <c:v>0.8722366218181502</c:v>
                </c:pt>
                <c:pt idx="370">
                  <c:v>0.87188906447646153</c:v>
                </c:pt>
                <c:pt idx="371">
                  <c:v>0.86916131526744689</c:v>
                </c:pt>
                <c:pt idx="372">
                  <c:v>0.8795243746605742</c:v>
                </c:pt>
                <c:pt idx="373">
                  <c:v>0.88942593964446515</c:v>
                </c:pt>
                <c:pt idx="374">
                  <c:v>0.87583293892896374</c:v>
                </c:pt>
                <c:pt idx="375">
                  <c:v>0.88691312328875094</c:v>
                </c:pt>
                <c:pt idx="376">
                  <c:v>0.89108503114298521</c:v>
                </c:pt>
                <c:pt idx="377">
                  <c:v>0.89160855785782356</c:v>
                </c:pt>
                <c:pt idx="378">
                  <c:v>0.88914380667810422</c:v>
                </c:pt>
                <c:pt idx="379">
                  <c:v>0.89743548947892759</c:v>
                </c:pt>
                <c:pt idx="380">
                  <c:v>0.89408092372805981</c:v>
                </c:pt>
                <c:pt idx="381">
                  <c:v>0.89638827675736799</c:v>
                </c:pt>
                <c:pt idx="382">
                  <c:v>0.89368543815467705</c:v>
                </c:pt>
                <c:pt idx="383">
                  <c:v>0.88695977696307338</c:v>
                </c:pt>
                <c:pt idx="384">
                  <c:v>0.90973518493198524</c:v>
                </c:pt>
                <c:pt idx="385">
                  <c:v>0.92579143377612672</c:v>
                </c:pt>
                <c:pt idx="386">
                  <c:v>0.92497744630805867</c:v>
                </c:pt>
                <c:pt idx="387">
                  <c:v>0.92752729588069738</c:v>
                </c:pt>
                <c:pt idx="388">
                  <c:v>0.9429131621007002</c:v>
                </c:pt>
                <c:pt idx="389">
                  <c:v>0.93420661020149276</c:v>
                </c:pt>
                <c:pt idx="390">
                  <c:v>0.93545444662249855</c:v>
                </c:pt>
                <c:pt idx="391">
                  <c:v>0.93158662130672321</c:v>
                </c:pt>
                <c:pt idx="392">
                  <c:v>0.92510902410771789</c:v>
                </c:pt>
                <c:pt idx="393">
                  <c:v>0.91745092160956765</c:v>
                </c:pt>
                <c:pt idx="394">
                  <c:v>0.9081711552648859</c:v>
                </c:pt>
                <c:pt idx="395">
                  <c:v>0.91094280975603714</c:v>
                </c:pt>
                <c:pt idx="396">
                  <c:v>0.90651336322036646</c:v>
                </c:pt>
                <c:pt idx="397">
                  <c:v>0.88224216224995389</c:v>
                </c:pt>
                <c:pt idx="398">
                  <c:v>0.87056707115158538</c:v>
                </c:pt>
                <c:pt idx="399">
                  <c:v>0.88443670135249319</c:v>
                </c:pt>
                <c:pt idx="400">
                  <c:v>0.88425723497380648</c:v>
                </c:pt>
                <c:pt idx="401">
                  <c:v>0.88247933986908256</c:v>
                </c:pt>
                <c:pt idx="402">
                  <c:v>0.8649396726529065</c:v>
                </c:pt>
                <c:pt idx="403">
                  <c:v>0.8630779599231575</c:v>
                </c:pt>
                <c:pt idx="404">
                  <c:v>0.86314317485286118</c:v>
                </c:pt>
                <c:pt idx="405">
                  <c:v>0.87845716110849859</c:v>
                </c:pt>
                <c:pt idx="406">
                  <c:v>0.88077075948339967</c:v>
                </c:pt>
                <c:pt idx="407">
                  <c:v>0.89482363191477099</c:v>
                </c:pt>
                <c:pt idx="408">
                  <c:v>0.90420423082560164</c:v>
                </c:pt>
                <c:pt idx="409">
                  <c:v>0.88381573421226767</c:v>
                </c:pt>
                <c:pt idx="410">
                  <c:v>0.87954348927680537</c:v>
                </c:pt>
                <c:pt idx="411">
                  <c:v>0.88346111416964468</c:v>
                </c:pt>
                <c:pt idx="412">
                  <c:v>0.8769882396083365</c:v>
                </c:pt>
                <c:pt idx="413">
                  <c:v>0.8755290603786845</c:v>
                </c:pt>
                <c:pt idx="414">
                  <c:v>0.89123044230553861</c:v>
                </c:pt>
                <c:pt idx="415">
                  <c:v>0.89024881590943783</c:v>
                </c:pt>
                <c:pt idx="416">
                  <c:v>0.88552669583710208</c:v>
                </c:pt>
                <c:pt idx="417">
                  <c:v>0.8814317711396048</c:v>
                </c:pt>
                <c:pt idx="418">
                  <c:v>0.88227647560685807</c:v>
                </c:pt>
                <c:pt idx="419">
                  <c:v>0.88477829310436751</c:v>
                </c:pt>
                <c:pt idx="420">
                  <c:v>0.88604756230580339</c:v>
                </c:pt>
                <c:pt idx="421">
                  <c:v>0.88555095874700784</c:v>
                </c:pt>
                <c:pt idx="422">
                  <c:v>0.88584612736856039</c:v>
                </c:pt>
                <c:pt idx="423">
                  <c:v>0.89185479496504616</c:v>
                </c:pt>
                <c:pt idx="424">
                  <c:v>0.92009857057426003</c:v>
                </c:pt>
                <c:pt idx="425">
                  <c:v>0.92442904790814329</c:v>
                </c:pt>
                <c:pt idx="426">
                  <c:v>0.94374925364795015</c:v>
                </c:pt>
                <c:pt idx="427">
                  <c:v>0.94875764862174861</c:v>
                </c:pt>
                <c:pt idx="428">
                  <c:v>0.94353297888938747</c:v>
                </c:pt>
                <c:pt idx="429">
                  <c:v>0.93755400750762563</c:v>
                </c:pt>
                <c:pt idx="430">
                  <c:v>0.93071921154109116</c:v>
                </c:pt>
                <c:pt idx="431">
                  <c:v>0.94903480599166001</c:v>
                </c:pt>
                <c:pt idx="432">
                  <c:v>0.9509868172533682</c:v>
                </c:pt>
                <c:pt idx="433">
                  <c:v>0.94426293531721672</c:v>
                </c:pt>
                <c:pt idx="434">
                  <c:v>0.9516377023589222</c:v>
                </c:pt>
                <c:pt idx="435">
                  <c:v>0.95059419772120113</c:v>
                </c:pt>
                <c:pt idx="436">
                  <c:v>0.93726205218013359</c:v>
                </c:pt>
                <c:pt idx="437">
                  <c:v>0.93675735153943263</c:v>
                </c:pt>
                <c:pt idx="438">
                  <c:v>0.94483409027462217</c:v>
                </c:pt>
                <c:pt idx="439">
                  <c:v>0.9449543417877263</c:v>
                </c:pt>
                <c:pt idx="440">
                  <c:v>0.93931879553473763</c:v>
                </c:pt>
                <c:pt idx="441">
                  <c:v>0.92568160952081535</c:v>
                </c:pt>
                <c:pt idx="442">
                  <c:v>0.93446122651815433</c:v>
                </c:pt>
                <c:pt idx="443">
                  <c:v>0.92359036982859422</c:v>
                </c:pt>
                <c:pt idx="444">
                  <c:v>0.92212689316538665</c:v>
                </c:pt>
                <c:pt idx="445">
                  <c:v>0.92950708091902368</c:v>
                </c:pt>
                <c:pt idx="446">
                  <c:v>0.93246371094752589</c:v>
                </c:pt>
                <c:pt idx="447">
                  <c:v>0.9419308865682664</c:v>
                </c:pt>
                <c:pt idx="448">
                  <c:v>0.94116884822753366</c:v>
                </c:pt>
                <c:pt idx="449">
                  <c:v>0.94938693388332829</c:v>
                </c:pt>
                <c:pt idx="450">
                  <c:v>0.95030221608820153</c:v>
                </c:pt>
                <c:pt idx="451">
                  <c:v>0.95015437651693502</c:v>
                </c:pt>
                <c:pt idx="452">
                  <c:v>0.96279077646187827</c:v>
                </c:pt>
                <c:pt idx="453">
                  <c:v>0.96369292928535988</c:v>
                </c:pt>
                <c:pt idx="454">
                  <c:v>0.95137179512639647</c:v>
                </c:pt>
                <c:pt idx="455">
                  <c:v>0.95964535170188425</c:v>
                </c:pt>
                <c:pt idx="456">
                  <c:v>0.96123167293900724</c:v>
                </c:pt>
                <c:pt idx="457">
                  <c:v>0.95399437097034656</c:v>
                </c:pt>
                <c:pt idx="458">
                  <c:v>0.94376206110974203</c:v>
                </c:pt>
                <c:pt idx="459">
                  <c:v>0.93756404289806927</c:v>
                </c:pt>
                <c:pt idx="460">
                  <c:v>0.94241555902670371</c:v>
                </c:pt>
                <c:pt idx="461">
                  <c:v>0.94888117319020659</c:v>
                </c:pt>
                <c:pt idx="462">
                  <c:v>0.94944124040740352</c:v>
                </c:pt>
                <c:pt idx="463">
                  <c:v>0.94795742836037211</c:v>
                </c:pt>
                <c:pt idx="464">
                  <c:v>0.94664124381785453</c:v>
                </c:pt>
                <c:pt idx="465">
                  <c:v>0.94669564040029297</c:v>
                </c:pt>
                <c:pt idx="466">
                  <c:v>0.9399603485900585</c:v>
                </c:pt>
                <c:pt idx="467">
                  <c:v>0.93610329535792358</c:v>
                </c:pt>
                <c:pt idx="468">
                  <c:v>0.93994652216904395</c:v>
                </c:pt>
                <c:pt idx="469">
                  <c:v>0.93071940030837297</c:v>
                </c:pt>
                <c:pt idx="470">
                  <c:v>0.92579942836092244</c:v>
                </c:pt>
                <c:pt idx="471">
                  <c:v>0.93376734806586892</c:v>
                </c:pt>
                <c:pt idx="472">
                  <c:v>0.90917492642776876</c:v>
                </c:pt>
                <c:pt idx="473">
                  <c:v>0.92238496363149269</c:v>
                </c:pt>
                <c:pt idx="474">
                  <c:v>0.9285908186296109</c:v>
                </c:pt>
                <c:pt idx="475">
                  <c:v>0.94114699214992859</c:v>
                </c:pt>
                <c:pt idx="476">
                  <c:v>0.94115703694677744</c:v>
                </c:pt>
                <c:pt idx="477">
                  <c:v>0.93929652113586359</c:v>
                </c:pt>
                <c:pt idx="478">
                  <c:v>0.93384626545259952</c:v>
                </c:pt>
                <c:pt idx="479">
                  <c:v>0.9408062331842556</c:v>
                </c:pt>
                <c:pt idx="480">
                  <c:v>0.93763577539758747</c:v>
                </c:pt>
                <c:pt idx="481">
                  <c:v>0.92690629997768936</c:v>
                </c:pt>
                <c:pt idx="482">
                  <c:v>0.92070172527127214</c:v>
                </c:pt>
                <c:pt idx="483">
                  <c:v>0.92294008569945718</c:v>
                </c:pt>
                <c:pt idx="484">
                  <c:v>0.92248400209534753</c:v>
                </c:pt>
                <c:pt idx="485">
                  <c:v>0.92326257064291606</c:v>
                </c:pt>
                <c:pt idx="486">
                  <c:v>0.90977053556950072</c:v>
                </c:pt>
                <c:pt idx="487">
                  <c:v>0.90827006667080734</c:v>
                </c:pt>
                <c:pt idx="488">
                  <c:v>0.8999680077133041</c:v>
                </c:pt>
                <c:pt idx="489">
                  <c:v>0.91143641078331561</c:v>
                </c:pt>
                <c:pt idx="490">
                  <c:v>0.91642138917793581</c:v>
                </c:pt>
                <c:pt idx="491">
                  <c:v>0.9161108098842552</c:v>
                </c:pt>
                <c:pt idx="492">
                  <c:v>0.91314579779147109</c:v>
                </c:pt>
                <c:pt idx="493">
                  <c:v>0.90573455503102218</c:v>
                </c:pt>
                <c:pt idx="494">
                  <c:v>0.90933630449871705</c:v>
                </c:pt>
                <c:pt idx="495">
                  <c:v>0.91907937064706935</c:v>
                </c:pt>
                <c:pt idx="496">
                  <c:v>0.92726888106932837</c:v>
                </c:pt>
                <c:pt idx="497">
                  <c:v>0.93396455287149771</c:v>
                </c:pt>
                <c:pt idx="498">
                  <c:v>0.94679803923522143</c:v>
                </c:pt>
                <c:pt idx="499">
                  <c:v>0.95138405047457497</c:v>
                </c:pt>
                <c:pt idx="500">
                  <c:v>0.95283476594505123</c:v>
                </c:pt>
                <c:pt idx="501">
                  <c:v>0.95186421939043431</c:v>
                </c:pt>
                <c:pt idx="502">
                  <c:v>0.95148757284931273</c:v>
                </c:pt>
                <c:pt idx="503">
                  <c:v>0.95062268320169108</c:v>
                </c:pt>
                <c:pt idx="504">
                  <c:v>0.94868870437539843</c:v>
                </c:pt>
                <c:pt idx="505">
                  <c:v>0.95508705823920859</c:v>
                </c:pt>
                <c:pt idx="506">
                  <c:v>0.92858711173949071</c:v>
                </c:pt>
                <c:pt idx="507">
                  <c:v>0.92016064177262036</c:v>
                </c:pt>
                <c:pt idx="508">
                  <c:v>0.92568925826976955</c:v>
                </c:pt>
                <c:pt idx="509">
                  <c:v>0.93292303852536784</c:v>
                </c:pt>
                <c:pt idx="510">
                  <c:v>0.93899147320003762</c:v>
                </c:pt>
                <c:pt idx="511">
                  <c:v>0.93364529984701317</c:v>
                </c:pt>
                <c:pt idx="512">
                  <c:v>0.94582824001728094</c:v>
                </c:pt>
                <c:pt idx="513">
                  <c:v>0.9432774295789299</c:v>
                </c:pt>
                <c:pt idx="514">
                  <c:v>0.95062434814621477</c:v>
                </c:pt>
                <c:pt idx="515">
                  <c:v>0.95796948522922276</c:v>
                </c:pt>
                <c:pt idx="516">
                  <c:v>0.96608662231440567</c:v>
                </c:pt>
                <c:pt idx="517">
                  <c:v>0.96306516555887978</c:v>
                </c:pt>
                <c:pt idx="518">
                  <c:v>0.96048721280377314</c:v>
                </c:pt>
                <c:pt idx="519">
                  <c:v>0.95437101230362831</c:v>
                </c:pt>
                <c:pt idx="520">
                  <c:v>0.94987962619787991</c:v>
                </c:pt>
                <c:pt idx="521">
                  <c:v>0.94455144884481013</c:v>
                </c:pt>
                <c:pt idx="522">
                  <c:v>0.93979764615067318</c:v>
                </c:pt>
                <c:pt idx="523">
                  <c:v>0.94288259327803703</c:v>
                </c:pt>
                <c:pt idx="524">
                  <c:v>0.93579648086405487</c:v>
                </c:pt>
                <c:pt idx="525">
                  <c:v>0.92414680285835049</c:v>
                </c:pt>
                <c:pt idx="526">
                  <c:v>0.92514230954498033</c:v>
                </c:pt>
                <c:pt idx="527">
                  <c:v>0.93763710364755004</c:v>
                </c:pt>
                <c:pt idx="528">
                  <c:v>0.94607850343080602</c:v>
                </c:pt>
                <c:pt idx="529">
                  <c:v>0.95495675427637261</c:v>
                </c:pt>
                <c:pt idx="530">
                  <c:v>0.95541623138087484</c:v>
                </c:pt>
                <c:pt idx="531">
                  <c:v>0.95948096560797924</c:v>
                </c:pt>
                <c:pt idx="532">
                  <c:v>0.96745103333407423</c:v>
                </c:pt>
                <c:pt idx="533">
                  <c:v>0.95468982915724665</c:v>
                </c:pt>
                <c:pt idx="534">
                  <c:v>0.96604673830707899</c:v>
                </c:pt>
                <c:pt idx="535">
                  <c:v>0.97342443694834557</c:v>
                </c:pt>
                <c:pt idx="536">
                  <c:v>0.97428785792160366</c:v>
                </c:pt>
                <c:pt idx="537">
                  <c:v>0.96254608826173027</c:v>
                </c:pt>
                <c:pt idx="538">
                  <c:v>0.96061487486171249</c:v>
                </c:pt>
                <c:pt idx="539">
                  <c:v>0.96817067888943664</c:v>
                </c:pt>
                <c:pt idx="540">
                  <c:v>0.97033577995375064</c:v>
                </c:pt>
                <c:pt idx="541">
                  <c:v>0.95980183355803728</c:v>
                </c:pt>
                <c:pt idx="542">
                  <c:v>0.95301750982888167</c:v>
                </c:pt>
                <c:pt idx="543">
                  <c:v>0.93883806297994432</c:v>
                </c:pt>
                <c:pt idx="544">
                  <c:v>0.94157769457992213</c:v>
                </c:pt>
                <c:pt idx="545">
                  <c:v>0.8667145892358239</c:v>
                </c:pt>
                <c:pt idx="546">
                  <c:v>0.90056581443115824</c:v>
                </c:pt>
                <c:pt idx="547">
                  <c:v>0.89446726667111021</c:v>
                </c:pt>
                <c:pt idx="548">
                  <c:v>0.89446316408579196</c:v>
                </c:pt>
                <c:pt idx="549">
                  <c:v>0.90059826470582538</c:v>
                </c:pt>
                <c:pt idx="550">
                  <c:v>0.88428734374006079</c:v>
                </c:pt>
                <c:pt idx="551">
                  <c:v>0.85708914611855369</c:v>
                </c:pt>
                <c:pt idx="552">
                  <c:v>0.84293914127413472</c:v>
                </c:pt>
                <c:pt idx="553">
                  <c:v>0.84034491248033838</c:v>
                </c:pt>
                <c:pt idx="554">
                  <c:v>0.86005978322980881</c:v>
                </c:pt>
                <c:pt idx="555">
                  <c:v>0.88518914271087745</c:v>
                </c:pt>
                <c:pt idx="556">
                  <c:v>0.87550932852235064</c:v>
                </c:pt>
                <c:pt idx="557">
                  <c:v>0.87576147036098018</c:v>
                </c:pt>
                <c:pt idx="558">
                  <c:v>0.8720043142772359</c:v>
                </c:pt>
                <c:pt idx="559">
                  <c:v>0.86397794232068947</c:v>
                </c:pt>
                <c:pt idx="560">
                  <c:v>0.87856654116759536</c:v>
                </c:pt>
                <c:pt idx="561">
                  <c:v>0.89059061212846424</c:v>
                </c:pt>
                <c:pt idx="562">
                  <c:v>0.88857902653356236</c:v>
                </c:pt>
                <c:pt idx="563">
                  <c:v>0.89508136142523598</c:v>
                </c:pt>
                <c:pt idx="564">
                  <c:v>0.91184610198501115</c:v>
                </c:pt>
                <c:pt idx="565">
                  <c:v>0.91346787376252092</c:v>
                </c:pt>
                <c:pt idx="566">
                  <c:v>0.91430258561696975</c:v>
                </c:pt>
                <c:pt idx="567">
                  <c:v>0.90753434849900161</c:v>
                </c:pt>
                <c:pt idx="568">
                  <c:v>0.92123240215548574</c:v>
                </c:pt>
                <c:pt idx="569">
                  <c:v>0.9049658106939783</c:v>
                </c:pt>
                <c:pt idx="570">
                  <c:v>0.91165756132020137</c:v>
                </c:pt>
                <c:pt idx="571">
                  <c:v>0.91385646256156972</c:v>
                </c:pt>
                <c:pt idx="572">
                  <c:v>0.9305802777829737</c:v>
                </c:pt>
                <c:pt idx="573">
                  <c:v>0.93010215746244107</c:v>
                </c:pt>
                <c:pt idx="574">
                  <c:v>0.92317930910117063</c:v>
                </c:pt>
                <c:pt idx="575">
                  <c:v>0.90166016903055413</c:v>
                </c:pt>
                <c:pt idx="576">
                  <c:v>0.9054345754803097</c:v>
                </c:pt>
                <c:pt idx="577">
                  <c:v>0.90890431045407161</c:v>
                </c:pt>
                <c:pt idx="578">
                  <c:v>0.92157683443150495</c:v>
                </c:pt>
                <c:pt idx="579">
                  <c:v>0.91579925972035703</c:v>
                </c:pt>
                <c:pt idx="580">
                  <c:v>0.91290817189483608</c:v>
                </c:pt>
                <c:pt idx="581">
                  <c:v>0.90991281553313696</c:v>
                </c:pt>
                <c:pt idx="582">
                  <c:v>0.89720067229983058</c:v>
                </c:pt>
                <c:pt idx="583">
                  <c:v>0.89041996110487509</c:v>
                </c:pt>
                <c:pt idx="584">
                  <c:v>0.89850476893485209</c:v>
                </c:pt>
                <c:pt idx="585">
                  <c:v>0.90223714121837717</c:v>
                </c:pt>
                <c:pt idx="586">
                  <c:v>0.90073269303078674</c:v>
                </c:pt>
                <c:pt idx="587">
                  <c:v>0.89814677579256219</c:v>
                </c:pt>
                <c:pt idx="588">
                  <c:v>0.89361731876747608</c:v>
                </c:pt>
                <c:pt idx="589">
                  <c:v>0.9071777985059033</c:v>
                </c:pt>
                <c:pt idx="590">
                  <c:v>0.93679386829206668</c:v>
                </c:pt>
                <c:pt idx="591">
                  <c:v>0.94082189566728358</c:v>
                </c:pt>
                <c:pt idx="592">
                  <c:v>0.94918834122006801</c:v>
                </c:pt>
                <c:pt idx="593">
                  <c:v>0.9539076840179106</c:v>
                </c:pt>
                <c:pt idx="594">
                  <c:v>0.95569452370758967</c:v>
                </c:pt>
                <c:pt idx="595">
                  <c:v>0.95028111596120146</c:v>
                </c:pt>
                <c:pt idx="596">
                  <c:v>0.95884984283469776</c:v>
                </c:pt>
                <c:pt idx="597">
                  <c:v>0.97006989315396952</c:v>
                </c:pt>
                <c:pt idx="598">
                  <c:v>0.97736268402941939</c:v>
                </c:pt>
                <c:pt idx="599">
                  <c:v>0.98152453696952724</c:v>
                </c:pt>
                <c:pt idx="600">
                  <c:v>0.97462337874828098</c:v>
                </c:pt>
                <c:pt idx="601">
                  <c:v>0.97355114960430622</c:v>
                </c:pt>
                <c:pt idx="602">
                  <c:v>0.9796607023487568</c:v>
                </c:pt>
                <c:pt idx="603">
                  <c:v>0.96028620949358023</c:v>
                </c:pt>
                <c:pt idx="604">
                  <c:v>0.96361563190203903</c:v>
                </c:pt>
                <c:pt idx="605">
                  <c:v>0.97505865917443313</c:v>
                </c:pt>
                <c:pt idx="606">
                  <c:v>0.96517184367068021</c:v>
                </c:pt>
                <c:pt idx="607">
                  <c:v>0.98831123520314912</c:v>
                </c:pt>
                <c:pt idx="608">
                  <c:v>0.99765136201394478</c:v>
                </c:pt>
                <c:pt idx="609">
                  <c:v>0.99681795336896561</c:v>
                </c:pt>
                <c:pt idx="610">
                  <c:v>0.98461538249731584</c:v>
                </c:pt>
                <c:pt idx="611">
                  <c:v>0.98899929829829869</c:v>
                </c:pt>
                <c:pt idx="612">
                  <c:v>0.99181149842059979</c:v>
                </c:pt>
                <c:pt idx="613">
                  <c:v>0.99361593786404812</c:v>
                </c:pt>
                <c:pt idx="614">
                  <c:v>1.0024065764598602</c:v>
                </c:pt>
                <c:pt idx="615">
                  <c:v>1.0003541541894418</c:v>
                </c:pt>
                <c:pt idx="616">
                  <c:v>0.9983031258145153</c:v>
                </c:pt>
                <c:pt idx="617">
                  <c:v>1.0015000320571357</c:v>
                </c:pt>
                <c:pt idx="618">
                  <c:v>1.0021583713956601</c:v>
                </c:pt>
                <c:pt idx="619">
                  <c:v>0.99676618788254467</c:v>
                </c:pt>
                <c:pt idx="620">
                  <c:v>0.99752819488851463</c:v>
                </c:pt>
                <c:pt idx="621">
                  <c:v>1.0130063743788438</c:v>
                </c:pt>
                <c:pt idx="622">
                  <c:v>0.9911450381334771</c:v>
                </c:pt>
                <c:pt idx="623">
                  <c:v>0.98432971218735121</c:v>
                </c:pt>
                <c:pt idx="624">
                  <c:v>0.98567625532009984</c:v>
                </c:pt>
                <c:pt idx="625">
                  <c:v>0.98322945136009321</c:v>
                </c:pt>
                <c:pt idx="626">
                  <c:v>0.98922637701102767</c:v>
                </c:pt>
                <c:pt idx="627">
                  <c:v>1.0109511279925447</c:v>
                </c:pt>
                <c:pt idx="628">
                  <c:v>1.0144108685933082</c:v>
                </c:pt>
                <c:pt idx="629">
                  <c:v>0.9993004367435554</c:v>
                </c:pt>
                <c:pt idx="630">
                  <c:v>1.0152850832603784</c:v>
                </c:pt>
                <c:pt idx="631">
                  <c:v>1.0222257216654991</c:v>
                </c:pt>
                <c:pt idx="632">
                  <c:v>1.0172996334716082</c:v>
                </c:pt>
                <c:pt idx="633">
                  <c:v>1.0030057140234971</c:v>
                </c:pt>
                <c:pt idx="634">
                  <c:v>1.0061755371476633</c:v>
                </c:pt>
                <c:pt idx="635">
                  <c:v>0.99461019337200796</c:v>
                </c:pt>
                <c:pt idx="636">
                  <c:v>0.99205683286878354</c:v>
                </c:pt>
                <c:pt idx="637">
                  <c:v>0.99339337321331711</c:v>
                </c:pt>
                <c:pt idx="638">
                  <c:v>0.97124016044578299</c:v>
                </c:pt>
                <c:pt idx="639">
                  <c:v>0.96156327614823756</c:v>
                </c:pt>
                <c:pt idx="640">
                  <c:v>0.93992185447420629</c:v>
                </c:pt>
                <c:pt idx="641">
                  <c:v>0.95340070768029628</c:v>
                </c:pt>
                <c:pt idx="642">
                  <c:v>0.95033003662224003</c:v>
                </c:pt>
                <c:pt idx="643">
                  <c:v>0.95892990894600816</c:v>
                </c:pt>
                <c:pt idx="644">
                  <c:v>0.94955082291067683</c:v>
                </c:pt>
                <c:pt idx="645">
                  <c:v>0.93259233763117655</c:v>
                </c:pt>
                <c:pt idx="646">
                  <c:v>0.93887557684041867</c:v>
                </c:pt>
                <c:pt idx="647">
                  <c:v>0.94637021667509935</c:v>
                </c:pt>
                <c:pt idx="648">
                  <c:v>0.94397665664926333</c:v>
                </c:pt>
                <c:pt idx="649">
                  <c:v>0.93999908270123811</c:v>
                </c:pt>
                <c:pt idx="650">
                  <c:v>0.94274441669183306</c:v>
                </c:pt>
                <c:pt idx="651">
                  <c:v>0.92920400124353209</c:v>
                </c:pt>
                <c:pt idx="652">
                  <c:v>0.91540422778733799</c:v>
                </c:pt>
                <c:pt idx="653">
                  <c:v>0.91756685656114445</c:v>
                </c:pt>
                <c:pt idx="654">
                  <c:v>0.91779470786612638</c:v>
                </c:pt>
                <c:pt idx="655">
                  <c:v>0.93178779469492579</c:v>
                </c:pt>
                <c:pt idx="656">
                  <c:v>0.92969099973690417</c:v>
                </c:pt>
                <c:pt idx="657">
                  <c:v>0.94601058578583141</c:v>
                </c:pt>
                <c:pt idx="658">
                  <c:v>0.94730032895836114</c:v>
                </c:pt>
                <c:pt idx="659">
                  <c:v>0.9519195569461717</c:v>
                </c:pt>
                <c:pt idx="660">
                  <c:v>0.95766252755334003</c:v>
                </c:pt>
                <c:pt idx="661">
                  <c:v>0.97110559253478379</c:v>
                </c:pt>
                <c:pt idx="662">
                  <c:v>0.98383932593463908</c:v>
                </c:pt>
                <c:pt idx="663">
                  <c:v>0.98819284980834232</c:v>
                </c:pt>
                <c:pt idx="664">
                  <c:v>0.97535071774037163</c:v>
                </c:pt>
                <c:pt idx="665">
                  <c:v>0.98236373749851946</c:v>
                </c:pt>
                <c:pt idx="666">
                  <c:v>0.97570827698995899</c:v>
                </c:pt>
                <c:pt idx="667">
                  <c:v>0.98068448408494535</c:v>
                </c:pt>
                <c:pt idx="668">
                  <c:v>0.96924944001711311</c:v>
                </c:pt>
                <c:pt idx="669">
                  <c:v>0.95654740556199447</c:v>
                </c:pt>
                <c:pt idx="670">
                  <c:v>0.95320618045914751</c:v>
                </c:pt>
                <c:pt idx="671">
                  <c:v>0.95559682511439537</c:v>
                </c:pt>
                <c:pt idx="672">
                  <c:v>0.9850113139335509</c:v>
                </c:pt>
                <c:pt idx="673">
                  <c:v>0.99002904412714654</c:v>
                </c:pt>
                <c:pt idx="674">
                  <c:v>1.0019398950722229</c:v>
                </c:pt>
                <c:pt idx="675">
                  <c:v>0.99668260449648383</c:v>
                </c:pt>
                <c:pt idx="676">
                  <c:v>0.9947082161480485</c:v>
                </c:pt>
                <c:pt idx="677">
                  <c:v>0.99303098612885154</c:v>
                </c:pt>
                <c:pt idx="678">
                  <c:v>0.97723091183036559</c:v>
                </c:pt>
                <c:pt idx="679">
                  <c:v>0.98277636032464066</c:v>
                </c:pt>
                <c:pt idx="680">
                  <c:v>0.98282014461762612</c:v>
                </c:pt>
                <c:pt idx="681">
                  <c:v>1.00117072584914</c:v>
                </c:pt>
                <c:pt idx="682">
                  <c:v>0.99108840742573512</c:v>
                </c:pt>
                <c:pt idx="683">
                  <c:v>0.99414912174770476</c:v>
                </c:pt>
                <c:pt idx="684">
                  <c:v>0.9788056537958062</c:v>
                </c:pt>
                <c:pt idx="685">
                  <c:v>0.96060837987525349</c:v>
                </c:pt>
                <c:pt idx="686">
                  <c:v>0.97200724091560819</c:v>
                </c:pt>
                <c:pt idx="687">
                  <c:v>0.97617388389610538</c:v>
                </c:pt>
                <c:pt idx="688">
                  <c:v>0.9727832789516534</c:v>
                </c:pt>
                <c:pt idx="689">
                  <c:v>0.97567685829362405</c:v>
                </c:pt>
                <c:pt idx="690">
                  <c:v>0.95849384750515476</c:v>
                </c:pt>
                <c:pt idx="691">
                  <c:v>0.96166855809036622</c:v>
                </c:pt>
                <c:pt idx="692">
                  <c:v>0.957046561695164</c:v>
                </c:pt>
                <c:pt idx="693">
                  <c:v>0.94048661471251283</c:v>
                </c:pt>
                <c:pt idx="694">
                  <c:v>0.94543388816629781</c:v>
                </c:pt>
                <c:pt idx="695">
                  <c:v>0.96769916147167789</c:v>
                </c:pt>
                <c:pt idx="696">
                  <c:v>0.96068808200112532</c:v>
                </c:pt>
                <c:pt idx="697">
                  <c:v>0.94279550345529761</c:v>
                </c:pt>
                <c:pt idx="698">
                  <c:v>0.94645811547983072</c:v>
                </c:pt>
                <c:pt idx="699">
                  <c:v>0.93290333982011153</c:v>
                </c:pt>
                <c:pt idx="700">
                  <c:v>0.94923845859181155</c:v>
                </c:pt>
                <c:pt idx="701">
                  <c:v>0.95363476445389761</c:v>
                </c:pt>
                <c:pt idx="702">
                  <c:v>0.94451006653328273</c:v>
                </c:pt>
                <c:pt idx="703">
                  <c:v>0.93494587611248736</c:v>
                </c:pt>
                <c:pt idx="704">
                  <c:v>0.95022193386968634</c:v>
                </c:pt>
                <c:pt idx="705">
                  <c:v>0.94854676825677053</c:v>
                </c:pt>
                <c:pt idx="706">
                  <c:v>0.95569635812660714</c:v>
                </c:pt>
                <c:pt idx="707">
                  <c:v>0.94855733501802619</c:v>
                </c:pt>
                <c:pt idx="708">
                  <c:v>0.94853724055340216</c:v>
                </c:pt>
                <c:pt idx="709">
                  <c:v>0.95335987214449469</c:v>
                </c:pt>
                <c:pt idx="710">
                  <c:v>0.95979882222084112</c:v>
                </c:pt>
                <c:pt idx="711">
                  <c:v>0.96830583075449617</c:v>
                </c:pt>
                <c:pt idx="712">
                  <c:v>0.9893714710330177</c:v>
                </c:pt>
                <c:pt idx="713">
                  <c:v>0.99593357917589154</c:v>
                </c:pt>
                <c:pt idx="714">
                  <c:v>1.0224674130089335</c:v>
                </c:pt>
                <c:pt idx="715">
                  <c:v>1.0257198110571939</c:v>
                </c:pt>
                <c:pt idx="716">
                  <c:v>1.0253224607057874</c:v>
                </c:pt>
                <c:pt idx="717">
                  <c:v>1.0317938039800387</c:v>
                </c:pt>
                <c:pt idx="718">
                  <c:v>1.0353140023887124</c:v>
                </c:pt>
                <c:pt idx="719">
                  <c:v>1.0492567567496338</c:v>
                </c:pt>
                <c:pt idx="720">
                  <c:v>1.0505085119426609</c:v>
                </c:pt>
                <c:pt idx="721">
                  <c:v>1.0525286487063703</c:v>
                </c:pt>
                <c:pt idx="722">
                  <c:v>1.0402702922435523</c:v>
                </c:pt>
                <c:pt idx="723">
                  <c:v>1.0440630692410748</c:v>
                </c:pt>
                <c:pt idx="724">
                  <c:v>1.0512885453118233</c:v>
                </c:pt>
                <c:pt idx="725">
                  <c:v>1.0540176899383258</c:v>
                </c:pt>
                <c:pt idx="726">
                  <c:v>1.0498117117194241</c:v>
                </c:pt>
                <c:pt idx="727">
                  <c:v>1.0595119230976435</c:v>
                </c:pt>
                <c:pt idx="728">
                  <c:v>1.0662081627519211</c:v>
                </c:pt>
                <c:pt idx="729">
                  <c:v>1.0582518343198646</c:v>
                </c:pt>
                <c:pt idx="730">
                  <c:v>1.0572918482121241</c:v>
                </c:pt>
                <c:pt idx="731">
                  <c:v>1.0656470187581175</c:v>
                </c:pt>
                <c:pt idx="732">
                  <c:v>1.0611594266724764</c:v>
                </c:pt>
                <c:pt idx="733">
                  <c:v>1.0672164013512866</c:v>
                </c:pt>
                <c:pt idx="734">
                  <c:v>1.1058104283789718</c:v>
                </c:pt>
                <c:pt idx="735">
                  <c:v>1.1124586016978029</c:v>
                </c:pt>
                <c:pt idx="736">
                  <c:v>1.1326868234005525</c:v>
                </c:pt>
                <c:pt idx="737">
                  <c:v>1.1265657431662301</c:v>
                </c:pt>
                <c:pt idx="738">
                  <c:v>1.1014317099103101</c:v>
                </c:pt>
                <c:pt idx="739">
                  <c:v>1.0743679034840456</c:v>
                </c:pt>
                <c:pt idx="740">
                  <c:v>1.0765979126469762</c:v>
                </c:pt>
                <c:pt idx="741">
                  <c:v>1.0847885241576822</c:v>
                </c:pt>
                <c:pt idx="742">
                  <c:v>1.0693169915358725</c:v>
                </c:pt>
                <c:pt idx="743">
                  <c:v>1.0851123589038001</c:v>
                </c:pt>
                <c:pt idx="744">
                  <c:v>1.0730397676745995</c:v>
                </c:pt>
                <c:pt idx="745">
                  <c:v>1.1112775504421184</c:v>
                </c:pt>
                <c:pt idx="746">
                  <c:v>1.0611244285020314</c:v>
                </c:pt>
                <c:pt idx="747">
                  <c:v>1.0876906205390549</c:v>
                </c:pt>
                <c:pt idx="748">
                  <c:v>1.0693782193608661</c:v>
                </c:pt>
                <c:pt idx="749">
                  <c:v>1.0915626001359904</c:v>
                </c:pt>
                <c:pt idx="750">
                  <c:v>1.0585032063144422</c:v>
                </c:pt>
                <c:pt idx="751">
                  <c:v>1.0749774657778932</c:v>
                </c:pt>
                <c:pt idx="752">
                  <c:v>1.0814818633630714</c:v>
                </c:pt>
                <c:pt idx="753">
                  <c:v>1.091346327359606</c:v>
                </c:pt>
                <c:pt idx="754">
                  <c:v>1.1090504351849269</c:v>
                </c:pt>
                <c:pt idx="755">
                  <c:v>1.0790845284078789</c:v>
                </c:pt>
                <c:pt idx="756">
                  <c:v>1.1045521626326411</c:v>
                </c:pt>
                <c:pt idx="757">
                  <c:v>1.1259385109017941</c:v>
                </c:pt>
                <c:pt idx="758">
                  <c:v>1.1765867465075324</c:v>
                </c:pt>
                <c:pt idx="759">
                  <c:v>1.1532180602873343</c:v>
                </c:pt>
                <c:pt idx="760">
                  <c:v>1.1477662219314659</c:v>
                </c:pt>
                <c:pt idx="761">
                  <c:v>1.1596779651319378</c:v>
                </c:pt>
                <c:pt idx="762">
                  <c:v>1.1741813790730879</c:v>
                </c:pt>
                <c:pt idx="763">
                  <c:v>1.183499453400076</c:v>
                </c:pt>
                <c:pt idx="764">
                  <c:v>1.2166541290447219</c:v>
                </c:pt>
                <c:pt idx="765">
                  <c:v>1.2045730943385196</c:v>
                </c:pt>
                <c:pt idx="766">
                  <c:v>1.1990815879171584</c:v>
                </c:pt>
                <c:pt idx="767">
                  <c:v>1.2370596336391761</c:v>
                </c:pt>
                <c:pt idx="768">
                  <c:v>1.2757163671092513</c:v>
                </c:pt>
                <c:pt idx="769">
                  <c:v>1.2880515543919169</c:v>
                </c:pt>
                <c:pt idx="770">
                  <c:v>1.2806686479238365</c:v>
                </c:pt>
                <c:pt idx="771">
                  <c:v>1.32159743900784</c:v>
                </c:pt>
                <c:pt idx="772">
                  <c:v>1.3212097139889838</c:v>
                </c:pt>
                <c:pt idx="773">
                  <c:v>1.3060560165719335</c:v>
                </c:pt>
                <c:pt idx="774">
                  <c:v>1.3135487293591159</c:v>
                </c:pt>
                <c:pt idx="775">
                  <c:v>1.291146836321674</c:v>
                </c:pt>
                <c:pt idx="776">
                  <c:v>1.311583503730865</c:v>
                </c:pt>
                <c:pt idx="777">
                  <c:v>1.3166484470698885</c:v>
                </c:pt>
                <c:pt idx="778">
                  <c:v>1.3518285729590531</c:v>
                </c:pt>
                <c:pt idx="779">
                  <c:v>1.3902228520328119</c:v>
                </c:pt>
                <c:pt idx="780">
                  <c:v>1.3720155451235658</c:v>
                </c:pt>
                <c:pt idx="781">
                  <c:v>1.3695825110880349</c:v>
                </c:pt>
                <c:pt idx="782">
                  <c:v>1.3923899445095134</c:v>
                </c:pt>
                <c:pt idx="783">
                  <c:v>1.425084759039712</c:v>
                </c:pt>
                <c:pt idx="784">
                  <c:v>1.4490190432193419</c:v>
                </c:pt>
                <c:pt idx="785">
                  <c:v>1.4078228264879222</c:v>
                </c:pt>
                <c:pt idx="786">
                  <c:v>1.3959882128527072</c:v>
                </c:pt>
                <c:pt idx="787">
                  <c:v>1.398302151149188</c:v>
                </c:pt>
                <c:pt idx="788">
                  <c:v>1.396592922836946</c:v>
                </c:pt>
                <c:pt idx="789">
                  <c:v>1.3926176421892893</c:v>
                </c:pt>
                <c:pt idx="790">
                  <c:v>1.3717091959125682</c:v>
                </c:pt>
                <c:pt idx="791">
                  <c:v>1.3512268612139051</c:v>
                </c:pt>
                <c:pt idx="792">
                  <c:v>1.3595795568363664</c:v>
                </c:pt>
                <c:pt idx="793">
                  <c:v>1.3564984057141556</c:v>
                </c:pt>
                <c:pt idx="794">
                  <c:v>1.3769955439550121</c:v>
                </c:pt>
                <c:pt idx="795">
                  <c:v>1.4039400772633297</c:v>
                </c:pt>
                <c:pt idx="796">
                  <c:v>1.3695841512079405</c:v>
                </c:pt>
                <c:pt idx="797">
                  <c:v>1.3721914447266723</c:v>
                </c:pt>
                <c:pt idx="798">
                  <c:v>1.3388413151762981</c:v>
                </c:pt>
                <c:pt idx="799">
                  <c:v>1.2901172870785718</c:v>
                </c:pt>
                <c:pt idx="800">
                  <c:v>1.2992114298525961</c:v>
                </c:pt>
                <c:pt idx="801">
                  <c:v>1.2950814041850731</c:v>
                </c:pt>
                <c:pt idx="802">
                  <c:v>1.2675298321929294</c:v>
                </c:pt>
                <c:pt idx="803">
                  <c:v>1.2539372469754753</c:v>
                </c:pt>
                <c:pt idx="804">
                  <c:v>1.2598578825100468</c:v>
                </c:pt>
                <c:pt idx="805">
                  <c:v>1.2755504099663049</c:v>
                </c:pt>
                <c:pt idx="806">
                  <c:v>1.2576445544256911</c:v>
                </c:pt>
                <c:pt idx="807">
                  <c:v>1.2696160858515371</c:v>
                </c:pt>
                <c:pt idx="808">
                  <c:v>1.2476746210757412</c:v>
                </c:pt>
                <c:pt idx="809">
                  <c:v>1.255547369860099</c:v>
                </c:pt>
                <c:pt idx="810">
                  <c:v>1.2500331365908628</c:v>
                </c:pt>
                <c:pt idx="811">
                  <c:v>1.219261435281497</c:v>
                </c:pt>
                <c:pt idx="812">
                  <c:v>1.20853759805382</c:v>
                </c:pt>
                <c:pt idx="813">
                  <c:v>1.2470990965791235</c:v>
                </c:pt>
                <c:pt idx="814">
                  <c:v>1.2611207056574694</c:v>
                </c:pt>
                <c:pt idx="815">
                  <c:v>1.2844573299059512</c:v>
                </c:pt>
                <c:pt idx="816">
                  <c:v>1.283594266810715</c:v>
                </c:pt>
                <c:pt idx="817">
                  <c:v>1.2900691406943876</c:v>
                </c:pt>
                <c:pt idx="818">
                  <c:v>1.3005408369783382</c:v>
                </c:pt>
                <c:pt idx="819">
                  <c:v>1.2870401543898473</c:v>
                </c:pt>
                <c:pt idx="820">
                  <c:v>1.2767653307899196</c:v>
                </c:pt>
                <c:pt idx="821">
                  <c:v>1.2546269497468177</c:v>
                </c:pt>
                <c:pt idx="822">
                  <c:v>1.2513146024762303</c:v>
                </c:pt>
                <c:pt idx="823">
                  <c:v>1.2499040201822957</c:v>
                </c:pt>
                <c:pt idx="824">
                  <c:v>1.2265736271138767</c:v>
                </c:pt>
                <c:pt idx="825">
                  <c:v>1.2433434724610792</c:v>
                </c:pt>
                <c:pt idx="826">
                  <c:v>1.2498556737693647</c:v>
                </c:pt>
                <c:pt idx="827">
                  <c:v>1.2303552100841557</c:v>
                </c:pt>
                <c:pt idx="828">
                  <c:v>1.2552090948679331</c:v>
                </c:pt>
                <c:pt idx="829">
                  <c:v>1.2694700169218245</c:v>
                </c:pt>
                <c:pt idx="830">
                  <c:v>1.2467575881670161</c:v>
                </c:pt>
                <c:pt idx="831">
                  <c:v>1.2344615652548909</c:v>
                </c:pt>
                <c:pt idx="832">
                  <c:v>1.2558714550909347</c:v>
                </c:pt>
                <c:pt idx="833">
                  <c:v>1.2571119566659461</c:v>
                </c:pt>
                <c:pt idx="834">
                  <c:v>1.2634161067522629</c:v>
                </c:pt>
                <c:pt idx="835">
                  <c:v>1.2547274027230748</c:v>
                </c:pt>
                <c:pt idx="836">
                  <c:v>1.2684769903685644</c:v>
                </c:pt>
                <c:pt idx="837">
                  <c:v>1.3025203608732818</c:v>
                </c:pt>
                <c:pt idx="838">
                  <c:v>1.3040241688186178</c:v>
                </c:pt>
                <c:pt idx="839">
                  <c:v>1.2851263499745846</c:v>
                </c:pt>
                <c:pt idx="840">
                  <c:v>1.3048110803000832</c:v>
                </c:pt>
                <c:pt idx="841">
                  <c:v>1.31227332742166</c:v>
                </c:pt>
                <c:pt idx="842">
                  <c:v>1.2861642548794257</c:v>
                </c:pt>
                <c:pt idx="843">
                  <c:v>1.281123517165496</c:v>
                </c:pt>
                <c:pt idx="844">
                  <c:v>1.2923374627331325</c:v>
                </c:pt>
                <c:pt idx="845">
                  <c:v>1.2852385164483899</c:v>
                </c:pt>
                <c:pt idx="846">
                  <c:v>1.2780752790256489</c:v>
                </c:pt>
                <c:pt idx="847">
                  <c:v>1.2639662882054066</c:v>
                </c:pt>
                <c:pt idx="848">
                  <c:v>1.2824005614598353</c:v>
                </c:pt>
                <c:pt idx="849">
                  <c:v>1.2882964814156823</c:v>
                </c:pt>
                <c:pt idx="850">
                  <c:v>1.2833758221635476</c:v>
                </c:pt>
                <c:pt idx="851">
                  <c:v>1.281124520078718</c:v>
                </c:pt>
                <c:pt idx="852">
                  <c:v>1.2973486958578715</c:v>
                </c:pt>
                <c:pt idx="853">
                  <c:v>1.292533118516876</c:v>
                </c:pt>
                <c:pt idx="854">
                  <c:v>1.2376167133872793</c:v>
                </c:pt>
                <c:pt idx="855">
                  <c:v>1.2514525877988378</c:v>
                </c:pt>
                <c:pt idx="856">
                  <c:v>1.2642008748880322</c:v>
                </c:pt>
                <c:pt idx="857">
                  <c:v>1.2610003743051388</c:v>
                </c:pt>
                <c:pt idx="858">
                  <c:v>1.272123822896094</c:v>
                </c:pt>
                <c:pt idx="859">
                  <c:v>1.2867958927422176</c:v>
                </c:pt>
                <c:pt idx="860">
                  <c:v>1.2878028062493778</c:v>
                </c:pt>
                <c:pt idx="861">
                  <c:v>1.2929582855789008</c:v>
                </c:pt>
                <c:pt idx="862">
                  <c:v>1.2795032488879559</c:v>
                </c:pt>
                <c:pt idx="863">
                  <c:v>1.2753389461117617</c:v>
                </c:pt>
                <c:pt idx="864">
                  <c:v>1.2753484010178848</c:v>
                </c:pt>
                <c:pt idx="865">
                  <c:v>1.2755014799255284</c:v>
                </c:pt>
                <c:pt idx="866">
                  <c:v>1.2755680691689406</c:v>
                </c:pt>
                <c:pt idx="867">
                  <c:v>1.2712718345902623</c:v>
                </c:pt>
                <c:pt idx="868">
                  <c:v>1.2761120427689543</c:v>
                </c:pt>
                <c:pt idx="869">
                  <c:v>1.2815279491265874</c:v>
                </c:pt>
                <c:pt idx="870">
                  <c:v>1.2696678299300388</c:v>
                </c:pt>
                <c:pt idx="871">
                  <c:v>1.2610281545768143</c:v>
                </c:pt>
                <c:pt idx="872">
                  <c:v>1.2446901049555783</c:v>
                </c:pt>
                <c:pt idx="873">
                  <c:v>1.2509556426852444</c:v>
                </c:pt>
                <c:pt idx="874">
                  <c:v>1.2497828799012756</c:v>
                </c:pt>
                <c:pt idx="875">
                  <c:v>1.2595929963036598</c:v>
                </c:pt>
                <c:pt idx="876">
                  <c:v>1.2439045827683624</c:v>
                </c:pt>
                <c:pt idx="877">
                  <c:v>1.249157484299029</c:v>
                </c:pt>
                <c:pt idx="878">
                  <c:v>1.2416431770063678</c:v>
                </c:pt>
                <c:pt idx="879">
                  <c:v>1.2411680493373842</c:v>
                </c:pt>
                <c:pt idx="880">
                  <c:v>1.2393620328248669</c:v>
                </c:pt>
                <c:pt idx="881">
                  <c:v>1.2217890157848035</c:v>
                </c:pt>
                <c:pt idx="882">
                  <c:v>1.2350697671652011</c:v>
                </c:pt>
                <c:pt idx="883">
                  <c:v>1.2426915320084977</c:v>
                </c:pt>
                <c:pt idx="884">
                  <c:v>1.2537758762531657</c:v>
                </c:pt>
                <c:pt idx="885">
                  <c:v>1.2547020631212986</c:v>
                </c:pt>
                <c:pt idx="886">
                  <c:v>1.257551657681768</c:v>
                </c:pt>
                <c:pt idx="887">
                  <c:v>1.2634659997662185</c:v>
                </c:pt>
                <c:pt idx="888">
                  <c:v>1.2582463457794746</c:v>
                </c:pt>
                <c:pt idx="889">
                  <c:v>1.2430172827072077</c:v>
                </c:pt>
                <c:pt idx="890">
                  <c:v>1.2472900297007283</c:v>
                </c:pt>
                <c:pt idx="891">
                  <c:v>1.2459880832884529</c:v>
                </c:pt>
                <c:pt idx="892">
                  <c:v>1.2288883138527282</c:v>
                </c:pt>
                <c:pt idx="893">
                  <c:v>1.2172851076935149</c:v>
                </c:pt>
                <c:pt idx="894">
                  <c:v>1.2107379265694689</c:v>
                </c:pt>
                <c:pt idx="895">
                  <c:v>1.2263822115993326</c:v>
                </c:pt>
                <c:pt idx="896">
                  <c:v>1.2369048663340745</c:v>
                </c:pt>
                <c:pt idx="897">
                  <c:v>1.2439922652459079</c:v>
                </c:pt>
                <c:pt idx="898">
                  <c:v>1.2747386426576561</c:v>
                </c:pt>
                <c:pt idx="899">
                  <c:v>1.2758498822264184</c:v>
                </c:pt>
                <c:pt idx="900">
                  <c:v>1.2826664198255919</c:v>
                </c:pt>
                <c:pt idx="901">
                  <c:v>1.2986239538121536</c:v>
                </c:pt>
                <c:pt idx="902">
                  <c:v>1.2883692984080941</c:v>
                </c:pt>
                <c:pt idx="903">
                  <c:v>1.2962083395524031</c:v>
                </c:pt>
                <c:pt idx="904">
                  <c:v>1.3026236502458006</c:v>
                </c:pt>
                <c:pt idx="905">
                  <c:v>1.3033253247581207</c:v>
                </c:pt>
                <c:pt idx="906">
                  <c:v>1.3038655189997121</c:v>
                </c:pt>
                <c:pt idx="907">
                  <c:v>1.3110323458550182</c:v>
                </c:pt>
                <c:pt idx="908">
                  <c:v>1.3186417201185761</c:v>
                </c:pt>
                <c:pt idx="909">
                  <c:v>1.3166745219652296</c:v>
                </c:pt>
                <c:pt idx="910">
                  <c:v>1.2996578586640011</c:v>
                </c:pt>
                <c:pt idx="911">
                  <c:v>1.2878816933528467</c:v>
                </c:pt>
                <c:pt idx="912">
                  <c:v>1.3040134595570003</c:v>
                </c:pt>
                <c:pt idx="913">
                  <c:v>1.2837519549844285</c:v>
                </c:pt>
                <c:pt idx="914">
                  <c:v>1.2646181765594739</c:v>
                </c:pt>
                <c:pt idx="915">
                  <c:v>1.2796243855719256</c:v>
                </c:pt>
                <c:pt idx="916">
                  <c:v>1.2889328622750533</c:v>
                </c:pt>
                <c:pt idx="917">
                  <c:v>1.3054595368252282</c:v>
                </c:pt>
                <c:pt idx="918">
                  <c:v>1.31866997586146</c:v>
                </c:pt>
                <c:pt idx="919">
                  <c:v>1.3314577800746665</c:v>
                </c:pt>
                <c:pt idx="920">
                  <c:v>1.304932455502348</c:v>
                </c:pt>
                <c:pt idx="921">
                  <c:v>1.3039451578667314</c:v>
                </c:pt>
                <c:pt idx="922">
                  <c:v>1.3199737019668014</c:v>
                </c:pt>
                <c:pt idx="923">
                  <c:v>1.3059743714026106</c:v>
                </c:pt>
                <c:pt idx="924">
                  <c:v>1.3118998174353478</c:v>
                </c:pt>
                <c:pt idx="925">
                  <c:v>1.3218668284984401</c:v>
                </c:pt>
                <c:pt idx="926">
                  <c:v>1.3350034060691751</c:v>
                </c:pt>
                <c:pt idx="927">
                  <c:v>1.3290493553351919</c:v>
                </c:pt>
                <c:pt idx="928">
                  <c:v>1.3276129063545203</c:v>
                </c:pt>
                <c:pt idx="929">
                  <c:v>1.3362470164072606</c:v>
                </c:pt>
                <c:pt idx="930">
                  <c:v>1.328201101883999</c:v>
                </c:pt>
                <c:pt idx="931">
                  <c:v>1.3322014644930216</c:v>
                </c:pt>
                <c:pt idx="932">
                  <c:v>1.3360638065214838</c:v>
                </c:pt>
                <c:pt idx="933">
                  <c:v>1.3210868331567285</c:v>
                </c:pt>
                <c:pt idx="934">
                  <c:v>1.3087874829640964</c:v>
                </c:pt>
                <c:pt idx="935">
                  <c:v>1.2764405472740723</c:v>
                </c:pt>
                <c:pt idx="936">
                  <c:v>1.2447128016217983</c:v>
                </c:pt>
                <c:pt idx="937">
                  <c:v>1.2260338010460583</c:v>
                </c:pt>
                <c:pt idx="938">
                  <c:v>1.2329579973095961</c:v>
                </c:pt>
                <c:pt idx="939">
                  <c:v>1.2189365208768506</c:v>
                </c:pt>
                <c:pt idx="940">
                  <c:v>1.2268919566502947</c:v>
                </c:pt>
                <c:pt idx="941">
                  <c:v>1.2426831413873678</c:v>
                </c:pt>
                <c:pt idx="942">
                  <c:v>1.2255662980736959</c:v>
                </c:pt>
                <c:pt idx="943">
                  <c:v>1.213331985835681</c:v>
                </c:pt>
                <c:pt idx="944">
                  <c:v>1.2378541449712945</c:v>
                </c:pt>
                <c:pt idx="945">
                  <c:v>1.251763034703854</c:v>
                </c:pt>
                <c:pt idx="946">
                  <c:v>1.2631393368553754</c:v>
                </c:pt>
                <c:pt idx="947">
                  <c:v>1.2679477753240802</c:v>
                </c:pt>
                <c:pt idx="948">
                  <c:v>1.3058733003825487</c:v>
                </c:pt>
                <c:pt idx="949">
                  <c:v>1.2957330873402686</c:v>
                </c:pt>
                <c:pt idx="950">
                  <c:v>1.3028760284824741</c:v>
                </c:pt>
                <c:pt idx="951">
                  <c:v>1.2991328092012662</c:v>
                </c:pt>
                <c:pt idx="952">
                  <c:v>1.3023423914677961</c:v>
                </c:pt>
                <c:pt idx="953">
                  <c:v>1.280205364926041</c:v>
                </c:pt>
                <c:pt idx="954">
                  <c:v>1.2810329078885365</c:v>
                </c:pt>
                <c:pt idx="955">
                  <c:v>1.2830593813871973</c:v>
                </c:pt>
                <c:pt idx="956">
                  <c:v>1.271419893380485</c:v>
                </c:pt>
                <c:pt idx="957">
                  <c:v>1.272734459786909</c:v>
                </c:pt>
                <c:pt idx="958">
                  <c:v>1.2783507542626289</c:v>
                </c:pt>
                <c:pt idx="959">
                  <c:v>1.2640743587917134</c:v>
                </c:pt>
                <c:pt idx="960">
                  <c:v>1.2810872767879855</c:v>
                </c:pt>
                <c:pt idx="961">
                  <c:v>1.2738401062646294</c:v>
                </c:pt>
                <c:pt idx="962">
                  <c:v>1.2669814310561547</c:v>
                </c:pt>
                <c:pt idx="963">
                  <c:v>1.2653637966670308</c:v>
                </c:pt>
                <c:pt idx="964">
                  <c:v>1.2839271247831736</c:v>
                </c:pt>
                <c:pt idx="965">
                  <c:v>1.3053444604901485</c:v>
                </c:pt>
                <c:pt idx="966">
                  <c:v>1.3107125252233169</c:v>
                </c:pt>
                <c:pt idx="967">
                  <c:v>1.3037638105812521</c:v>
                </c:pt>
                <c:pt idx="968">
                  <c:v>1.3024091740829624</c:v>
                </c:pt>
                <c:pt idx="969">
                  <c:v>1.2930107907371011</c:v>
                </c:pt>
                <c:pt idx="970">
                  <c:v>1.2953595094931523</c:v>
                </c:pt>
                <c:pt idx="971">
                  <c:v>1.2969836718044823</c:v>
                </c:pt>
                <c:pt idx="972">
                  <c:v>1.2878090744447159</c:v>
                </c:pt>
                <c:pt idx="973">
                  <c:v>1.2875931044818396</c:v>
                </c:pt>
                <c:pt idx="974">
                  <c:v>1.3085319918046117</c:v>
                </c:pt>
                <c:pt idx="975">
                  <c:v>1.328861600584351</c:v>
                </c:pt>
                <c:pt idx="976">
                  <c:v>1.3293957843147532</c:v>
                </c:pt>
                <c:pt idx="977">
                  <c:v>1.3306547829789361</c:v>
                </c:pt>
                <c:pt idx="978">
                  <c:v>1.3483762897322529</c:v>
                </c:pt>
                <c:pt idx="979">
                  <c:v>1.3088157415650641</c:v>
                </c:pt>
                <c:pt idx="980">
                  <c:v>1.3209804625171717</c:v>
                </c:pt>
                <c:pt idx="981">
                  <c:v>1.3228974817837644</c:v>
                </c:pt>
                <c:pt idx="982">
                  <c:v>1.2962617620766514</c:v>
                </c:pt>
                <c:pt idx="983">
                  <c:v>1.2695140713910882</c:v>
                </c:pt>
                <c:pt idx="984">
                  <c:v>1.2816431317858119</c:v>
                </c:pt>
                <c:pt idx="985">
                  <c:v>1.2700095443537707</c:v>
                </c:pt>
                <c:pt idx="986">
                  <c:v>1.2777945647422622</c:v>
                </c:pt>
                <c:pt idx="987">
                  <c:v>1.2584359407932411</c:v>
                </c:pt>
                <c:pt idx="988">
                  <c:v>1.2421639709537149</c:v>
                </c:pt>
                <c:pt idx="989">
                  <c:v>1.2393975039369707</c:v>
                </c:pt>
                <c:pt idx="990">
                  <c:v>1.2492377393001202</c:v>
                </c:pt>
                <c:pt idx="991">
                  <c:v>1.2567791992344888</c:v>
                </c:pt>
                <c:pt idx="992">
                  <c:v>1.2504782361394033</c:v>
                </c:pt>
                <c:pt idx="993">
                  <c:v>1.2444154754576793</c:v>
                </c:pt>
                <c:pt idx="994">
                  <c:v>1.2644275912159069</c:v>
                </c:pt>
                <c:pt idx="995">
                  <c:v>1.2654186525815634</c:v>
                </c:pt>
                <c:pt idx="996">
                  <c:v>1.2896326569878804</c:v>
                </c:pt>
                <c:pt idx="997">
                  <c:v>1.2459561799196248</c:v>
                </c:pt>
                <c:pt idx="998">
                  <c:v>1.2426343300197791</c:v>
                </c:pt>
                <c:pt idx="999">
                  <c:v>1.2499171262006699</c:v>
                </c:pt>
                <c:pt idx="1000">
                  <c:v>1.2633224365328881</c:v>
                </c:pt>
                <c:pt idx="1001">
                  <c:v>1.2603736254557625</c:v>
                </c:pt>
                <c:pt idx="1002">
                  <c:v>1.2540780685673436</c:v>
                </c:pt>
                <c:pt idx="1003">
                  <c:v>1.2507867557356287</c:v>
                </c:pt>
                <c:pt idx="1004">
                  <c:v>1.2709304137587785</c:v>
                </c:pt>
                <c:pt idx="1005">
                  <c:v>1.2689088803891977</c:v>
                </c:pt>
                <c:pt idx="1006">
                  <c:v>1.247693130868212</c:v>
                </c:pt>
                <c:pt idx="1007">
                  <c:v>1.2626533369776214</c:v>
                </c:pt>
                <c:pt idx="1008">
                  <c:v>1.2632423334328315</c:v>
                </c:pt>
                <c:pt idx="1009">
                  <c:v>1.215461402507062</c:v>
                </c:pt>
                <c:pt idx="1010">
                  <c:v>1.220885603787796</c:v>
                </c:pt>
                <c:pt idx="1011">
                  <c:v>1.2134348620260502</c:v>
                </c:pt>
                <c:pt idx="1012">
                  <c:v>1.2029891242561326</c:v>
                </c:pt>
                <c:pt idx="1013">
                  <c:v>1.1565874698074337</c:v>
                </c:pt>
                <c:pt idx="1014">
                  <c:v>1.1632544077244844</c:v>
                </c:pt>
                <c:pt idx="1015">
                  <c:v>1.1821132215102439</c:v>
                </c:pt>
                <c:pt idx="1016">
                  <c:v>1.1733509272955578</c:v>
                </c:pt>
                <c:pt idx="1017">
                  <c:v>1.2039629891424797</c:v>
                </c:pt>
                <c:pt idx="1018">
                  <c:v>1.2415431034003148</c:v>
                </c:pt>
                <c:pt idx="1019">
                  <c:v>1.2401501939236295</c:v>
                </c:pt>
                <c:pt idx="1020">
                  <c:v>1.2295817817787109</c:v>
                </c:pt>
                <c:pt idx="1021">
                  <c:v>1.2535022515864309</c:v>
                </c:pt>
                <c:pt idx="1022">
                  <c:v>1.2759338445848694</c:v>
                </c:pt>
                <c:pt idx="1023">
                  <c:v>1.2920728116914832</c:v>
                </c:pt>
                <c:pt idx="1024">
                  <c:v>1.2805306762418978</c:v>
                </c:pt>
                <c:pt idx="1025">
                  <c:v>1.2741719249616086</c:v>
                </c:pt>
                <c:pt idx="1026">
                  <c:v>1.2643159251246585</c:v>
                </c:pt>
                <c:pt idx="1027">
                  <c:v>1.3054912595139951</c:v>
                </c:pt>
                <c:pt idx="1028">
                  <c:v>1.3026599845471158</c:v>
                </c:pt>
                <c:pt idx="1029">
                  <c:v>1.2774336240421467</c:v>
                </c:pt>
                <c:pt idx="1030">
                  <c:v>1.2554579254115468</c:v>
                </c:pt>
                <c:pt idx="1031">
                  <c:v>1.2507204806195282</c:v>
                </c:pt>
                <c:pt idx="1032">
                  <c:v>1.2392036561229487</c:v>
                </c:pt>
                <c:pt idx="1033">
                  <c:v>1.2551383839555479</c:v>
                </c:pt>
                <c:pt idx="1034">
                  <c:v>1.2661032737147502</c:v>
                </c:pt>
                <c:pt idx="1035">
                  <c:v>1.2804921632662691</c:v>
                </c:pt>
                <c:pt idx="1036">
                  <c:v>1.2884629100480349</c:v>
                </c:pt>
                <c:pt idx="1037">
                  <c:v>1.3092856185866013</c:v>
                </c:pt>
                <c:pt idx="1038">
                  <c:v>1.2954920290762413</c:v>
                </c:pt>
                <c:pt idx="1039">
                  <c:v>1.2920666554034839</c:v>
                </c:pt>
                <c:pt idx="1040">
                  <c:v>1.3146045232429404</c:v>
                </c:pt>
                <c:pt idx="1041">
                  <c:v>1.2970553408838643</c:v>
                </c:pt>
                <c:pt idx="1042">
                  <c:v>1.2982133506119737</c:v>
                </c:pt>
                <c:pt idx="1043">
                  <c:v>1.309297716511663</c:v>
                </c:pt>
                <c:pt idx="1044">
                  <c:v>1.3359794830000955</c:v>
                </c:pt>
                <c:pt idx="1045">
                  <c:v>1.3392853363564692</c:v>
                </c:pt>
                <c:pt idx="1046">
                  <c:v>1.3333607142732329</c:v>
                </c:pt>
                <c:pt idx="1047">
                  <c:v>1.3567546732854219</c:v>
                </c:pt>
                <c:pt idx="1048">
                  <c:v>1.3786015930141755</c:v>
                </c:pt>
                <c:pt idx="1049">
                  <c:v>1.4044595523135524</c:v>
                </c:pt>
                <c:pt idx="1050">
                  <c:v>1.3779245973255336</c:v>
                </c:pt>
                <c:pt idx="1051">
                  <c:v>1.3784564210163723</c:v>
                </c:pt>
                <c:pt idx="1052">
                  <c:v>1.3733736533799639</c:v>
                </c:pt>
                <c:pt idx="1053">
                  <c:v>1.3639437721221819</c:v>
                </c:pt>
                <c:pt idx="1054">
                  <c:v>1.3609022576186967</c:v>
                </c:pt>
                <c:pt idx="1055">
                  <c:v>1.3718631553533867</c:v>
                </c:pt>
                <c:pt idx="1056">
                  <c:v>1.3908201157610434</c:v>
                </c:pt>
                <c:pt idx="1057">
                  <c:v>1.4144235918066075</c:v>
                </c:pt>
                <c:pt idx="1058">
                  <c:v>1.4031508267774899</c:v>
                </c:pt>
                <c:pt idx="1059">
                  <c:v>1.4023112353219762</c:v>
                </c:pt>
                <c:pt idx="1060">
                  <c:v>1.3842597878533829</c:v>
                </c:pt>
                <c:pt idx="1061">
                  <c:v>1.3689897018193455</c:v>
                </c:pt>
                <c:pt idx="1062">
                  <c:v>1.3678622541386376</c:v>
                </c:pt>
                <c:pt idx="1063">
                  <c:v>1.3566753198722974</c:v>
                </c:pt>
                <c:pt idx="1064">
                  <c:v>1.3564904053186357</c:v>
                </c:pt>
                <c:pt idx="1065">
                  <c:v>1.3787296499251698</c:v>
                </c:pt>
                <c:pt idx="1066">
                  <c:v>1.3762722180238274</c:v>
                </c:pt>
                <c:pt idx="1067">
                  <c:v>1.3628231585954378</c:v>
                </c:pt>
                <c:pt idx="1068">
                  <c:v>1.378065112725674</c:v>
                </c:pt>
                <c:pt idx="1069">
                  <c:v>1.3723196194022829</c:v>
                </c:pt>
                <c:pt idx="1070">
                  <c:v>1.3755775544878546</c:v>
                </c:pt>
                <c:pt idx="1071">
                  <c:v>1.3766285227085766</c:v>
                </c:pt>
                <c:pt idx="1072">
                  <c:v>1.3883173883253868</c:v>
                </c:pt>
                <c:pt idx="1073">
                  <c:v>1.4092939375582234</c:v>
                </c:pt>
                <c:pt idx="1074">
                  <c:v>1.3965017087583758</c:v>
                </c:pt>
                <c:pt idx="1075">
                  <c:v>1.4232130326598342</c:v>
                </c:pt>
                <c:pt idx="1076">
                  <c:v>1.4108044181273511</c:v>
                </c:pt>
                <c:pt idx="1077">
                  <c:v>1.4055984141733446</c:v>
                </c:pt>
                <c:pt idx="1078">
                  <c:v>1.3929392680335106</c:v>
                </c:pt>
                <c:pt idx="1079">
                  <c:v>1.4173963427800844</c:v>
                </c:pt>
                <c:pt idx="1080">
                  <c:v>1.4421861215361373</c:v>
                </c:pt>
                <c:pt idx="1081">
                  <c:v>1.439735666026039</c:v>
                </c:pt>
                <c:pt idx="1082">
                  <c:v>1.4523596955954232</c:v>
                </c:pt>
                <c:pt idx="1083">
                  <c:v>1.4511991107556104</c:v>
                </c:pt>
                <c:pt idx="1084">
                  <c:v>1.4474040639740513</c:v>
                </c:pt>
                <c:pt idx="1085">
                  <c:v>1.4398048006564168</c:v>
                </c:pt>
                <c:pt idx="1086">
                  <c:v>1.4560360934967158</c:v>
                </c:pt>
                <c:pt idx="1087">
                  <c:v>1.444386711490721</c:v>
                </c:pt>
                <c:pt idx="1088">
                  <c:v>1.4142292769290195</c:v>
                </c:pt>
                <c:pt idx="1089">
                  <c:v>1.3925938109426734</c:v>
                </c:pt>
                <c:pt idx="1090">
                  <c:v>1.3820722386258406</c:v>
                </c:pt>
                <c:pt idx="1091">
                  <c:v>1.3679422554215028</c:v>
                </c:pt>
                <c:pt idx="1092">
                  <c:v>1.3811734558572573</c:v>
                </c:pt>
                <c:pt idx="1093">
                  <c:v>1.3770158272047406</c:v>
                </c:pt>
                <c:pt idx="1094">
                  <c:v>1.3866059069001457</c:v>
                </c:pt>
                <c:pt idx="1095">
                  <c:v>1.3839785462306387</c:v>
                </c:pt>
                <c:pt idx="1096">
                  <c:v>1.3775918128164975</c:v>
                </c:pt>
                <c:pt idx="1097">
                  <c:v>1.3940388370431052</c:v>
                </c:pt>
                <c:pt idx="1098">
                  <c:v>1.3809542918867945</c:v>
                </c:pt>
                <c:pt idx="1099">
                  <c:v>1.3729143679545568</c:v>
                </c:pt>
                <c:pt idx="1100">
                  <c:v>1.3509406473629428</c:v>
                </c:pt>
                <c:pt idx="1101">
                  <c:v>1.3599386818135013</c:v>
                </c:pt>
                <c:pt idx="1102">
                  <c:v>1.3629120596067217</c:v>
                </c:pt>
                <c:pt idx="1103">
                  <c:v>1.3703404944062458</c:v>
                </c:pt>
                <c:pt idx="1104">
                  <c:v>1.3726688258519961</c:v>
                </c:pt>
                <c:pt idx="1105">
                  <c:v>1.3798588791727588</c:v>
                </c:pt>
                <c:pt idx="1106">
                  <c:v>1.3430179775334834</c:v>
                </c:pt>
                <c:pt idx="1107">
                  <c:v>1.3429529360844545</c:v>
                </c:pt>
                <c:pt idx="1108">
                  <c:v>1.3383031449729352</c:v>
                </c:pt>
                <c:pt idx="1109">
                  <c:v>1.340112033638877</c:v>
                </c:pt>
                <c:pt idx="1110">
                  <c:v>1.3614901617867441</c:v>
                </c:pt>
                <c:pt idx="1111">
                  <c:v>1.3827766806507191</c:v>
                </c:pt>
                <c:pt idx="1112">
                  <c:v>1.3904230019466335</c:v>
                </c:pt>
                <c:pt idx="1113">
                  <c:v>1.3767536604136326</c:v>
                </c:pt>
                <c:pt idx="1114">
                  <c:v>1.3648854704348958</c:v>
                </c:pt>
                <c:pt idx="1115">
                  <c:v>1.3564784107344405</c:v>
                </c:pt>
                <c:pt idx="1116">
                  <c:v>1.3466310742195107</c:v>
                </c:pt>
                <c:pt idx="1117">
                  <c:v>1.3361003117363592</c:v>
                </c:pt>
                <c:pt idx="1118">
                  <c:v>1.3439015111145178</c:v>
                </c:pt>
                <c:pt idx="1119">
                  <c:v>1.3613142909468066</c:v>
                </c:pt>
                <c:pt idx="1120">
                  <c:v>1.3677878259147633</c:v>
                </c:pt>
                <c:pt idx="1121">
                  <c:v>1.3620437414139244</c:v>
                </c:pt>
                <c:pt idx="1122">
                  <c:v>1.3787595849802186</c:v>
                </c:pt>
                <c:pt idx="1123">
                  <c:v>1.3618925157141786</c:v>
                </c:pt>
                <c:pt idx="1124">
                  <c:v>1.3303342201285717</c:v>
                </c:pt>
                <c:pt idx="1125">
                  <c:v>1.3410450031436147</c:v>
                </c:pt>
                <c:pt idx="1126">
                  <c:v>1.3561032601331773</c:v>
                </c:pt>
                <c:pt idx="1127">
                  <c:v>1.3560823364303867</c:v>
                </c:pt>
                <c:pt idx="1128">
                  <c:v>1.3563259881160818</c:v>
                </c:pt>
                <c:pt idx="1129">
                  <c:v>1.3679901957685094</c:v>
                </c:pt>
                <c:pt idx="1130">
                  <c:v>1.3639286499097165</c:v>
                </c:pt>
                <c:pt idx="1131">
                  <c:v>1.3529629045744533</c:v>
                </c:pt>
                <c:pt idx="1132">
                  <c:v>1.3498580925653532</c:v>
                </c:pt>
                <c:pt idx="1133">
                  <c:v>1.3531320579178343</c:v>
                </c:pt>
                <c:pt idx="1134">
                  <c:v>1.3636676537367514</c:v>
                </c:pt>
                <c:pt idx="1135">
                  <c:v>1.3844539967989886</c:v>
                </c:pt>
                <c:pt idx="1136">
                  <c:v>1.3831045925204841</c:v>
                </c:pt>
                <c:pt idx="1137">
                  <c:v>1.390327227126934</c:v>
                </c:pt>
                <c:pt idx="1138">
                  <c:v>1.399241883917951</c:v>
                </c:pt>
                <c:pt idx="1139">
                  <c:v>1.3976463133525467</c:v>
                </c:pt>
                <c:pt idx="1140">
                  <c:v>1.3882207847153025</c:v>
                </c:pt>
                <c:pt idx="1141">
                  <c:v>1.3859282440905856</c:v>
                </c:pt>
                <c:pt idx="1142">
                  <c:v>1.3962630531090878</c:v>
                </c:pt>
                <c:pt idx="1143">
                  <c:v>1.3953411340168846</c:v>
                </c:pt>
                <c:pt idx="1144">
                  <c:v>1.3956880367232229</c:v>
                </c:pt>
                <c:pt idx="1145">
                  <c:v>1.3938713062108063</c:v>
                </c:pt>
                <c:pt idx="1146">
                  <c:v>1.3976278580310664</c:v>
                </c:pt>
                <c:pt idx="1147">
                  <c:v>1.4086363308825836</c:v>
                </c:pt>
                <c:pt idx="1148">
                  <c:v>1.3962684768048057</c:v>
                </c:pt>
                <c:pt idx="1149">
                  <c:v>1.4006099714009457</c:v>
                </c:pt>
                <c:pt idx="1150">
                  <c:v>1.3793231492278648</c:v>
                </c:pt>
                <c:pt idx="1151">
                  <c:v>1.3874612565105886</c:v>
                </c:pt>
                <c:pt idx="1152">
                  <c:v>1.4098362316380693</c:v>
                </c:pt>
                <c:pt idx="1153">
                  <c:v>1.4057535043165343</c:v>
                </c:pt>
                <c:pt idx="1154">
                  <c:v>1.4138362238236126</c:v>
                </c:pt>
                <c:pt idx="1155">
                  <c:v>1.4123951495747435</c:v>
                </c:pt>
                <c:pt idx="1156">
                  <c:v>1.4032493081370789</c:v>
                </c:pt>
                <c:pt idx="1157">
                  <c:v>1.4072330276166747</c:v>
                </c:pt>
                <c:pt idx="1158">
                  <c:v>1.4180229197878098</c:v>
                </c:pt>
                <c:pt idx="1159">
                  <c:v>1.4297582907302897</c:v>
                </c:pt>
                <c:pt idx="1160">
                  <c:v>1.4335316947898018</c:v>
                </c:pt>
                <c:pt idx="1161">
                  <c:v>1.4266220053054692</c:v>
                </c:pt>
                <c:pt idx="1162">
                  <c:v>1.4323659009989023</c:v>
                </c:pt>
                <c:pt idx="1163">
                  <c:v>1.4277926768151428</c:v>
                </c:pt>
                <c:pt idx="1164">
                  <c:v>1.4417088302657717</c:v>
                </c:pt>
                <c:pt idx="1165">
                  <c:v>1.4438448652728937</c:v>
                </c:pt>
                <c:pt idx="1166">
                  <c:v>1.4423790191911845</c:v>
                </c:pt>
                <c:pt idx="1167">
                  <c:v>1.4381839924549398</c:v>
                </c:pt>
                <c:pt idx="1168">
                  <c:v>1.4323781291712196</c:v>
                </c:pt>
                <c:pt idx="1169">
                  <c:v>1.4308365189122572</c:v>
                </c:pt>
                <c:pt idx="1170">
                  <c:v>1.4313930437417464</c:v>
                </c:pt>
                <c:pt idx="1171">
                  <c:v>1.4175533439259875</c:v>
                </c:pt>
                <c:pt idx="1172">
                  <c:v>1.4267811908830181</c:v>
                </c:pt>
                <c:pt idx="1173">
                  <c:v>1.4517949476029646</c:v>
                </c:pt>
                <c:pt idx="1174">
                  <c:v>1.4643038293261661</c:v>
                </c:pt>
                <c:pt idx="1175">
                  <c:v>1.4862902154804687</c:v>
                </c:pt>
                <c:pt idx="1176">
                  <c:v>1.4934761154825535</c:v>
                </c:pt>
                <c:pt idx="1177">
                  <c:v>1.4948366372615562</c:v>
                </c:pt>
                <c:pt idx="1178">
                  <c:v>1.481742922871641</c:v>
                </c:pt>
                <c:pt idx="1179">
                  <c:v>1.4741563285932355</c:v>
                </c:pt>
                <c:pt idx="1180">
                  <c:v>1.4710166101319058</c:v>
                </c:pt>
                <c:pt idx="1181">
                  <c:v>1.4688704067030334</c:v>
                </c:pt>
                <c:pt idx="1182">
                  <c:v>1.4658818501357791</c:v>
                </c:pt>
                <c:pt idx="1183">
                  <c:v>1.4551591298439968</c:v>
                </c:pt>
                <c:pt idx="1184">
                  <c:v>1.4588071701446645</c:v>
                </c:pt>
                <c:pt idx="1185">
                  <c:v>1.4657211978587201</c:v>
                </c:pt>
                <c:pt idx="1186">
                  <c:v>1.4623347212078115</c:v>
                </c:pt>
                <c:pt idx="1187">
                  <c:v>1.4818527706228262</c:v>
                </c:pt>
                <c:pt idx="1188">
                  <c:v>1.4776856804122485</c:v>
                </c:pt>
                <c:pt idx="1189">
                  <c:v>1.4662576148934741</c:v>
                </c:pt>
                <c:pt idx="1190">
                  <c:v>1.4491478394845214</c:v>
                </c:pt>
                <c:pt idx="1191">
                  <c:v>1.4524365232515899</c:v>
                </c:pt>
                <c:pt idx="1192">
                  <c:v>1.4661188653525261</c:v>
                </c:pt>
                <c:pt idx="1193">
                  <c:v>1.4513608172761465</c:v>
                </c:pt>
                <c:pt idx="1194">
                  <c:v>1.4540035004207204</c:v>
                </c:pt>
                <c:pt idx="1195">
                  <c:v>1.4599041402412061</c:v>
                </c:pt>
                <c:pt idx="1196">
                  <c:v>1.4505305623532041</c:v>
                </c:pt>
                <c:pt idx="1197">
                  <c:v>1.4562690220387844</c:v>
                </c:pt>
                <c:pt idx="1198">
                  <c:v>1.456032480876571</c:v>
                </c:pt>
                <c:pt idx="1199">
                  <c:v>1.4710991003847584</c:v>
                </c:pt>
                <c:pt idx="1200">
                  <c:v>1.4735927279548717</c:v>
                </c:pt>
                <c:pt idx="1201">
                  <c:v>1.4693137154524969</c:v>
                </c:pt>
                <c:pt idx="1202">
                  <c:v>1.458496168417301</c:v>
                </c:pt>
                <c:pt idx="1203">
                  <c:v>1.4467127322088809</c:v>
                </c:pt>
                <c:pt idx="1204">
                  <c:v>1.4403791135652895</c:v>
                </c:pt>
                <c:pt idx="1205">
                  <c:v>1.4454340159724419</c:v>
                </c:pt>
                <c:pt idx="1206">
                  <c:v>1.442284736288048</c:v>
                </c:pt>
                <c:pt idx="1207">
                  <c:v>1.4310374123075962</c:v>
                </c:pt>
                <c:pt idx="1208">
                  <c:v>1.4376689627557904</c:v>
                </c:pt>
                <c:pt idx="1209">
                  <c:v>1.4432666568253758</c:v>
                </c:pt>
                <c:pt idx="1210">
                  <c:v>1.4513789733235125</c:v>
                </c:pt>
                <c:pt idx="1211">
                  <c:v>1.450332583985714</c:v>
                </c:pt>
                <c:pt idx="1212">
                  <c:v>1.4578819350959562</c:v>
                </c:pt>
                <c:pt idx="1213">
                  <c:v>1.4628007314870035</c:v>
                </c:pt>
                <c:pt idx="1214">
                  <c:v>1.4758248918119918</c:v>
                </c:pt>
                <c:pt idx="1215">
                  <c:v>1.4877185789622609</c:v>
                </c:pt>
                <c:pt idx="1216">
                  <c:v>1.4608730145914699</c:v>
                </c:pt>
                <c:pt idx="1217">
                  <c:v>1.4509709480368864</c:v>
                </c:pt>
                <c:pt idx="1218">
                  <c:v>1.451176054133118</c:v>
                </c:pt>
                <c:pt idx="1219">
                  <c:v>1.4610502259328026</c:v>
                </c:pt>
                <c:pt idx="1220">
                  <c:v>1.4915224390181856</c:v>
                </c:pt>
                <c:pt idx="1221">
                  <c:v>1.5269768995354338</c:v>
                </c:pt>
                <c:pt idx="1222">
                  <c:v>1.5210213486607669</c:v>
                </c:pt>
                <c:pt idx="1223">
                  <c:v>1.5214432807690832</c:v>
                </c:pt>
                <c:pt idx="1224">
                  <c:v>1.5206596755362289</c:v>
                </c:pt>
                <c:pt idx="1225">
                  <c:v>1.5264039300605543</c:v>
                </c:pt>
                <c:pt idx="1226">
                  <c:v>1.5402732710440497</c:v>
                </c:pt>
                <c:pt idx="1227">
                  <c:v>1.5282043449233964</c:v>
                </c:pt>
                <c:pt idx="1228">
                  <c:v>1.540783363138968</c:v>
                </c:pt>
                <c:pt idx="1229">
                  <c:v>1.5464511150357274</c:v>
                </c:pt>
                <c:pt idx="1230">
                  <c:v>1.5637331306320503</c:v>
                </c:pt>
                <c:pt idx="1231">
                  <c:v>1.5655062364266059</c:v>
                </c:pt>
                <c:pt idx="1232">
                  <c:v>1.5591664742861682</c:v>
                </c:pt>
                <c:pt idx="1233">
                  <c:v>1.5612671755878882</c:v>
                </c:pt>
                <c:pt idx="1234">
                  <c:v>1.5505617567531038</c:v>
                </c:pt>
                <c:pt idx="1235">
                  <c:v>1.558651951629916</c:v>
                </c:pt>
                <c:pt idx="1236">
                  <c:v>1.5725504962281416</c:v>
                </c:pt>
                <c:pt idx="1237">
                  <c:v>1.5780358529936929</c:v>
                </c:pt>
                <c:pt idx="1238">
                  <c:v>1.5989843433478308</c:v>
                </c:pt>
                <c:pt idx="1239">
                  <c:v>1.6011365561876589</c:v>
                </c:pt>
                <c:pt idx="1240">
                  <c:v>1.6074277435266422</c:v>
                </c:pt>
                <c:pt idx="1241">
                  <c:v>1.6286123389570362</c:v>
                </c:pt>
                <c:pt idx="1242">
                  <c:v>1.6363284000303375</c:v>
                </c:pt>
                <c:pt idx="1243">
                  <c:v>1.6391665804900071</c:v>
                </c:pt>
                <c:pt idx="1244">
                  <c:v>1.6510571067338142</c:v>
                </c:pt>
                <c:pt idx="1245">
                  <c:v>1.6398051038588559</c:v>
                </c:pt>
                <c:pt idx="1246">
                  <c:v>1.6446419488135864</c:v>
                </c:pt>
                <c:pt idx="1247">
                  <c:v>1.641693418810128</c:v>
                </c:pt>
                <c:pt idx="1248">
                  <c:v>1.6236046237062507</c:v>
                </c:pt>
                <c:pt idx="1249">
                  <c:v>1.6321854838764183</c:v>
                </c:pt>
                <c:pt idx="1250">
                  <c:v>1.6251783958800499</c:v>
                </c:pt>
                <c:pt idx="1251">
                  <c:v>1.6041589254300965</c:v>
                </c:pt>
                <c:pt idx="1252">
                  <c:v>1.5946235176817838</c:v>
                </c:pt>
                <c:pt idx="1253">
                  <c:v>1.6020822859427566</c:v>
                </c:pt>
                <c:pt idx="1254">
                  <c:v>1.6099099570704891</c:v>
                </c:pt>
                <c:pt idx="1255">
                  <c:v>1.6000151741284925</c:v>
                </c:pt>
                <c:pt idx="1256">
                  <c:v>1.6175915342385074</c:v>
                </c:pt>
                <c:pt idx="1257">
                  <c:v>1.6425830203296521</c:v>
                </c:pt>
                <c:pt idx="1258">
                  <c:v>1.6705006490765058</c:v>
                </c:pt>
                <c:pt idx="1259">
                  <c:v>1.6564773839769775</c:v>
                </c:pt>
                <c:pt idx="1260">
                  <c:v>1.6231236972995198</c:v>
                </c:pt>
                <c:pt idx="1261">
                  <c:v>1.6195036978101198</c:v>
                </c:pt>
                <c:pt idx="1262">
                  <c:v>1.6232936895073011</c:v>
                </c:pt>
                <c:pt idx="1263">
                  <c:v>1.6488641348655866</c:v>
                </c:pt>
                <c:pt idx="1264">
                  <c:v>1.6406846825144077</c:v>
                </c:pt>
                <c:pt idx="1265">
                  <c:v>1.6274916624662119</c:v>
                </c:pt>
                <c:pt idx="1266">
                  <c:v>1.614335991687126</c:v>
                </c:pt>
                <c:pt idx="1267">
                  <c:v>1.6087061811862204</c:v>
                </c:pt>
                <c:pt idx="1268">
                  <c:v>1.597016256551518</c:v>
                </c:pt>
                <c:pt idx="1269">
                  <c:v>1.5924697359977518</c:v>
                </c:pt>
                <c:pt idx="1270">
                  <c:v>1.5790219136094781</c:v>
                </c:pt>
                <c:pt idx="1271">
                  <c:v>1.5732642700002661</c:v>
                </c:pt>
                <c:pt idx="1272">
                  <c:v>1.5634680562651091</c:v>
                </c:pt>
                <c:pt idx="1273">
                  <c:v>1.5848256585354981</c:v>
                </c:pt>
                <c:pt idx="1274">
                  <c:v>1.5869057080898199</c:v>
                </c:pt>
                <c:pt idx="1275">
                  <c:v>1.628147461365816</c:v>
                </c:pt>
                <c:pt idx="1276">
                  <c:v>1.6564943361694555</c:v>
                </c:pt>
                <c:pt idx="1277">
                  <c:v>1.63680940818309</c:v>
                </c:pt>
                <c:pt idx="1278">
                  <c:v>1.6243569743238631</c:v>
                </c:pt>
                <c:pt idx="1279">
                  <c:v>1.6363299603104984</c:v>
                </c:pt>
                <c:pt idx="1280">
                  <c:v>1.6311478332007965</c:v>
                </c:pt>
                <c:pt idx="1281">
                  <c:v>1.6341505671528049</c:v>
                </c:pt>
                <c:pt idx="1282">
                  <c:v>1.6199202803128789</c:v>
                </c:pt>
                <c:pt idx="1283">
                  <c:v>1.6242834764657315</c:v>
                </c:pt>
                <c:pt idx="1284">
                  <c:v>1.6070240125460349</c:v>
                </c:pt>
                <c:pt idx="1285">
                  <c:v>1.5894779020010454</c:v>
                </c:pt>
                <c:pt idx="1286">
                  <c:v>1.5869128950917788</c:v>
                </c:pt>
                <c:pt idx="1287">
                  <c:v>1.5917787933112801</c:v>
                </c:pt>
                <c:pt idx="1288">
                  <c:v>1.5705739613429777</c:v>
                </c:pt>
                <c:pt idx="1289">
                  <c:v>1.5612360902587359</c:v>
                </c:pt>
                <c:pt idx="1290">
                  <c:v>1.5651449239156221</c:v>
                </c:pt>
                <c:pt idx="1291">
                  <c:v>1.5472397001877791</c:v>
                </c:pt>
                <c:pt idx="1292">
                  <c:v>1.5380986522047437</c:v>
                </c:pt>
                <c:pt idx="1293">
                  <c:v>1.5502044387953675</c:v>
                </c:pt>
                <c:pt idx="1294">
                  <c:v>1.5360440241119013</c:v>
                </c:pt>
                <c:pt idx="1295">
                  <c:v>1.5269013560259699</c:v>
                </c:pt>
                <c:pt idx="1296">
                  <c:v>1.4944522446328803</c:v>
                </c:pt>
                <c:pt idx="1297">
                  <c:v>1.4880465572842516</c:v>
                </c:pt>
                <c:pt idx="1298">
                  <c:v>1.5034934260284785</c:v>
                </c:pt>
                <c:pt idx="1299">
                  <c:v>1.4849724700781501</c:v>
                </c:pt>
                <c:pt idx="1300">
                  <c:v>1.4944944272836964</c:v>
                </c:pt>
                <c:pt idx="1301">
                  <c:v>1.4941957338513745</c:v>
                </c:pt>
                <c:pt idx="1302">
                  <c:v>1.4699400920170835</c:v>
                </c:pt>
                <c:pt idx="1303">
                  <c:v>1.4274978060003045</c:v>
                </c:pt>
                <c:pt idx="1304">
                  <c:v>1.4256452763509622</c:v>
                </c:pt>
                <c:pt idx="1305">
                  <c:v>1.4500973915731539</c:v>
                </c:pt>
                <c:pt idx="1306">
                  <c:v>1.4555681434396002</c:v>
                </c:pt>
                <c:pt idx="1307">
                  <c:v>1.4499212165306472</c:v>
                </c:pt>
                <c:pt idx="1308">
                  <c:v>1.4587996206554945</c:v>
                </c:pt>
                <c:pt idx="1309">
                  <c:v>1.4728730652412538</c:v>
                </c:pt>
                <c:pt idx="1310">
                  <c:v>1.463166011110683</c:v>
                </c:pt>
                <c:pt idx="1311">
                  <c:v>1.4707405702910423</c:v>
                </c:pt>
                <c:pt idx="1312">
                  <c:v>1.4834494886404868</c:v>
                </c:pt>
                <c:pt idx="1313">
                  <c:v>1.4718381005580237</c:v>
                </c:pt>
                <c:pt idx="1314">
                  <c:v>1.4624222284071127</c:v>
                </c:pt>
                <c:pt idx="1315">
                  <c:v>1.4431510322197596</c:v>
                </c:pt>
                <c:pt idx="1316">
                  <c:v>1.460796443539546</c:v>
                </c:pt>
                <c:pt idx="1317">
                  <c:v>1.4626113624606856</c:v>
                </c:pt>
                <c:pt idx="1318">
                  <c:v>1.4559411854120983</c:v>
                </c:pt>
                <c:pt idx="1319">
                  <c:v>1.4409844712041144</c:v>
                </c:pt>
                <c:pt idx="1320">
                  <c:v>1.4516277551264745</c:v>
                </c:pt>
                <c:pt idx="1321">
                  <c:v>1.4637894432788763</c:v>
                </c:pt>
                <c:pt idx="1322">
                  <c:v>1.4888031688593744</c:v>
                </c:pt>
                <c:pt idx="1323">
                  <c:v>1.4872165970429476</c:v>
                </c:pt>
                <c:pt idx="1324">
                  <c:v>1.4677760296012665</c:v>
                </c:pt>
                <c:pt idx="1325">
                  <c:v>1.4314957134563635</c:v>
                </c:pt>
                <c:pt idx="1326">
                  <c:v>1.4371666704552704</c:v>
                </c:pt>
                <c:pt idx="1327">
                  <c:v>1.4211523558722474</c:v>
                </c:pt>
                <c:pt idx="1328">
                  <c:v>1.4098378165216365</c:v>
                </c:pt>
                <c:pt idx="1329">
                  <c:v>1.387035201518009</c:v>
                </c:pt>
                <c:pt idx="1330">
                  <c:v>1.4004688701278802</c:v>
                </c:pt>
                <c:pt idx="1331">
                  <c:v>1.3797942345506491</c:v>
                </c:pt>
                <c:pt idx="1332">
                  <c:v>1.3764470759827248</c:v>
                </c:pt>
                <c:pt idx="1333">
                  <c:v>1.3799983203509099</c:v>
                </c:pt>
                <c:pt idx="1334">
                  <c:v>1.3828727222147195</c:v>
                </c:pt>
                <c:pt idx="1335">
                  <c:v>1.4096969288131045</c:v>
                </c:pt>
                <c:pt idx="1336">
                  <c:v>1.4277059265129353</c:v>
                </c:pt>
                <c:pt idx="1337">
                  <c:v>1.4451914225647393</c:v>
                </c:pt>
                <c:pt idx="1338">
                  <c:v>1.4310331329514168</c:v>
                </c:pt>
                <c:pt idx="1339">
                  <c:v>1.4339864603690493</c:v>
                </c:pt>
                <c:pt idx="1340">
                  <c:v>1.4414421482617046</c:v>
                </c:pt>
                <c:pt idx="1341">
                  <c:v>1.408029129690898</c:v>
                </c:pt>
                <c:pt idx="1342">
                  <c:v>1.4127149831467027</c:v>
                </c:pt>
                <c:pt idx="1343">
                  <c:v>1.4184681643039103</c:v>
                </c:pt>
                <c:pt idx="1344">
                  <c:v>1.4297116534314798</c:v>
                </c:pt>
                <c:pt idx="1345">
                  <c:v>1.4038493855942571</c:v>
                </c:pt>
                <c:pt idx="1346">
                  <c:v>1.3980673638191454</c:v>
                </c:pt>
                <c:pt idx="1347">
                  <c:v>1.4057569385650284</c:v>
                </c:pt>
                <c:pt idx="1348">
                  <c:v>1.401232443474278</c:v>
                </c:pt>
                <c:pt idx="1349">
                  <c:v>1.4032246598913862</c:v>
                </c:pt>
                <c:pt idx="1350">
                  <c:v>1.388346900055252</c:v>
                </c:pt>
                <c:pt idx="1351">
                  <c:v>1.3818345146983098</c:v>
                </c:pt>
                <c:pt idx="1352">
                  <c:v>1.3700175943575836</c:v>
                </c:pt>
                <c:pt idx="1353">
                  <c:v>1.3837023446739107</c:v>
                </c:pt>
                <c:pt idx="1354">
                  <c:v>1.3820104899730465</c:v>
                </c:pt>
                <c:pt idx="1355">
                  <c:v>1.3726099116155723</c:v>
                </c:pt>
                <c:pt idx="1356">
                  <c:v>1.3641366877573273</c:v>
                </c:pt>
                <c:pt idx="1357">
                  <c:v>1.3614693509404938</c:v>
                </c:pt>
                <c:pt idx="1358">
                  <c:v>1.3593087434795912</c:v>
                </c:pt>
                <c:pt idx="1359">
                  <c:v>1.3408974738871569</c:v>
                </c:pt>
                <c:pt idx="1360">
                  <c:v>1.3224166924830043</c:v>
                </c:pt>
                <c:pt idx="1361">
                  <c:v>1.3249908340876662</c:v>
                </c:pt>
                <c:pt idx="1362">
                  <c:v>1.3231418433058224</c:v>
                </c:pt>
                <c:pt idx="1363">
                  <c:v>1.3188788044785231</c:v>
                </c:pt>
                <c:pt idx="1364">
                  <c:v>1.3163176637967857</c:v>
                </c:pt>
                <c:pt idx="1365">
                  <c:v>1.3259648152863666</c:v>
                </c:pt>
                <c:pt idx="1366">
                  <c:v>1.336530412946294</c:v>
                </c:pt>
                <c:pt idx="1367">
                  <c:v>1.3255660056692016</c:v>
                </c:pt>
                <c:pt idx="1368">
                  <c:v>1.3124953765549452</c:v>
                </c:pt>
                <c:pt idx="1369">
                  <c:v>1.3029469505279336</c:v>
                </c:pt>
                <c:pt idx="1370">
                  <c:v>1.3075300000000001</c:v>
                </c:pt>
                <c:pt idx="1371">
                  <c:v>1.3291400000000002</c:v>
                </c:pt>
                <c:pt idx="1372">
                  <c:v>1.3318800000000002</c:v>
                </c:pt>
                <c:pt idx="1373">
                  <c:v>1.3275699999999999</c:v>
                </c:pt>
                <c:pt idx="1374">
                  <c:v>1.3342000000000001</c:v>
                </c:pt>
                <c:pt idx="1375">
                  <c:v>1.3411</c:v>
                </c:pt>
                <c:pt idx="1376">
                  <c:v>1.3367200000000001</c:v>
                </c:pt>
                <c:pt idx="1377">
                  <c:v>1.3514999999999999</c:v>
                </c:pt>
                <c:pt idx="1378">
                  <c:v>1.36314</c:v>
                </c:pt>
                <c:pt idx="1379">
                  <c:v>1.3605499999999999</c:v>
                </c:pt>
                <c:pt idx="1380">
                  <c:v>1.35751</c:v>
                </c:pt>
                <c:pt idx="1381">
                  <c:v>1.3794500000000001</c:v>
                </c:pt>
                <c:pt idx="1382">
                  <c:v>1.3896300000000001</c:v>
                </c:pt>
                <c:pt idx="1383">
                  <c:v>1.3914000000000002</c:v>
                </c:pt>
                <c:pt idx="1384">
                  <c:v>1.3915500000000001</c:v>
                </c:pt>
                <c:pt idx="1385">
                  <c:v>1.37886</c:v>
                </c:pt>
                <c:pt idx="1386">
                  <c:v>1.3890100000000001</c:v>
                </c:pt>
                <c:pt idx="1387">
                  <c:v>1.39768</c:v>
                </c:pt>
                <c:pt idx="1388">
                  <c:v>1.4108499999999999</c:v>
                </c:pt>
                <c:pt idx="1389">
                  <c:v>1.40832</c:v>
                </c:pt>
                <c:pt idx="1390">
                  <c:v>1.40926</c:v>
                </c:pt>
                <c:pt idx="1391">
                  <c:v>1.4080999999999999</c:v>
                </c:pt>
                <c:pt idx="1392">
                  <c:v>1.39893</c:v>
                </c:pt>
                <c:pt idx="1393">
                  <c:v>1.40341</c:v>
                </c:pt>
                <c:pt idx="1394">
                  <c:v>1.39777</c:v>
                </c:pt>
                <c:pt idx="1395">
                  <c:v>1.38181</c:v>
                </c:pt>
                <c:pt idx="1396">
                  <c:v>1.38504</c:v>
                </c:pt>
                <c:pt idx="1397">
                  <c:v>1.3792899999999999</c:v>
                </c:pt>
                <c:pt idx="1398">
                  <c:v>1.38531</c:v>
                </c:pt>
                <c:pt idx="1399">
                  <c:v>1.39577</c:v>
                </c:pt>
                <c:pt idx="1400">
                  <c:v>1.37616</c:v>
                </c:pt>
                <c:pt idx="1401">
                  <c:v>1.38198</c:v>
                </c:pt>
                <c:pt idx="1402">
                  <c:v>1.3988</c:v>
                </c:pt>
                <c:pt idx="1403">
                  <c:v>1.41909</c:v>
                </c:pt>
                <c:pt idx="1404">
                  <c:v>1.4179200000000001</c:v>
                </c:pt>
                <c:pt idx="1405">
                  <c:v>1.4096900000000001</c:v>
                </c:pt>
                <c:pt idx="1406">
                  <c:v>1.42188</c:v>
                </c:pt>
                <c:pt idx="1407">
                  <c:v>1.4365299999999999</c:v>
                </c:pt>
                <c:pt idx="1408">
                  <c:v>1.42408</c:v>
                </c:pt>
                <c:pt idx="1409">
                  <c:v>1.4132</c:v>
                </c:pt>
                <c:pt idx="1410">
                  <c:v>1.4009100000000001</c:v>
                </c:pt>
                <c:pt idx="1411">
                  <c:v>1.40523</c:v>
                </c:pt>
                <c:pt idx="1412">
                  <c:v>1.40221</c:v>
                </c:pt>
                <c:pt idx="1413">
                  <c:v>1.3960899999999998</c:v>
                </c:pt>
                <c:pt idx="1414">
                  <c:v>1.3953</c:v>
                </c:pt>
                <c:pt idx="1415">
                  <c:v>1.3904100000000001</c:v>
                </c:pt>
                <c:pt idx="1416">
                  <c:v>1.3952</c:v>
                </c:pt>
                <c:pt idx="1417">
                  <c:v>1.4034599999999999</c:v>
                </c:pt>
                <c:pt idx="1418">
                  <c:v>1.4083399999999999</c:v>
                </c:pt>
                <c:pt idx="1419">
                  <c:v>1.4179300000000001</c:v>
                </c:pt>
                <c:pt idx="1420">
                  <c:v>1.4237500000000001</c:v>
                </c:pt>
                <c:pt idx="1421">
                  <c:v>1.4289100000000001</c:v>
                </c:pt>
                <c:pt idx="1422">
                  <c:v>1.42876</c:v>
                </c:pt>
                <c:pt idx="1423">
                  <c:v>1.4385299999999999</c:v>
                </c:pt>
                <c:pt idx="1424">
                  <c:v>1.4493900000000002</c:v>
                </c:pt>
                <c:pt idx="1425">
                  <c:v>1.4404000000000001</c:v>
                </c:pt>
                <c:pt idx="1426">
                  <c:v>1.43485</c:v>
                </c:pt>
                <c:pt idx="1427">
                  <c:v>1.4351700000000001</c:v>
                </c:pt>
                <c:pt idx="1428">
                  <c:v>1.4458199999999999</c:v>
                </c:pt>
                <c:pt idx="1429">
                  <c:v>1.44093</c:v>
                </c:pt>
                <c:pt idx="1430">
                  <c:v>1.45895</c:v>
                </c:pt>
                <c:pt idx="1431">
                  <c:v>1.46496</c:v>
                </c:pt>
                <c:pt idx="1432">
                  <c:v>1.4762200000000001</c:v>
                </c:pt>
                <c:pt idx="1433">
                  <c:v>1.4739200000000001</c:v>
                </c:pt>
                <c:pt idx="1434">
                  <c:v>1.47583</c:v>
                </c:pt>
                <c:pt idx="1435">
                  <c:v>1.4774100000000001</c:v>
                </c:pt>
                <c:pt idx="1436">
                  <c:v>1.48238</c:v>
                </c:pt>
                <c:pt idx="1437">
                  <c:v>1.47407</c:v>
                </c:pt>
                <c:pt idx="1438">
                  <c:v>1.4814700000000001</c:v>
                </c:pt>
                <c:pt idx="1439">
                  <c:v>1.4863299999999999</c:v>
                </c:pt>
                <c:pt idx="1440">
                  <c:v>1.4778699999999998</c:v>
                </c:pt>
                <c:pt idx="1441">
                  <c:v>1.4937400000000001</c:v>
                </c:pt>
                <c:pt idx="1442">
                  <c:v>1.49735</c:v>
                </c:pt>
                <c:pt idx="1443">
                  <c:v>1.5051099999999999</c:v>
                </c:pt>
                <c:pt idx="1444">
                  <c:v>1.49777</c:v>
                </c:pt>
                <c:pt idx="1445">
                  <c:v>1.5026900000000001</c:v>
                </c:pt>
                <c:pt idx="1446">
                  <c:v>1.50092</c:v>
                </c:pt>
                <c:pt idx="1447">
                  <c:v>1.50363</c:v>
                </c:pt>
                <c:pt idx="1448">
                  <c:v>1.5050999999999999</c:v>
                </c:pt>
                <c:pt idx="1449">
                  <c:v>1.5161600000000002</c:v>
                </c:pt>
                <c:pt idx="1450">
                  <c:v>1.5191300000000001</c:v>
                </c:pt>
                <c:pt idx="1451">
                  <c:v>1.52234</c:v>
                </c:pt>
                <c:pt idx="1452">
                  <c:v>1.51553</c:v>
                </c:pt>
                <c:pt idx="1453">
                  <c:v>1.5283800000000001</c:v>
                </c:pt>
                <c:pt idx="1454">
                  <c:v>1.52017</c:v>
                </c:pt>
                <c:pt idx="1455">
                  <c:v>1.52641</c:v>
                </c:pt>
                <c:pt idx="1456">
                  <c:v>1.5347500000000001</c:v>
                </c:pt>
                <c:pt idx="1457">
                  <c:v>1.5249600000000001</c:v>
                </c:pt>
                <c:pt idx="1458">
                  <c:v>1.5259400000000001</c:v>
                </c:pt>
                <c:pt idx="1459">
                  <c:v>1.5052999999999999</c:v>
                </c:pt>
                <c:pt idx="1460">
                  <c:v>1.5154700000000001</c:v>
                </c:pt>
                <c:pt idx="1461">
                  <c:v>1.51362</c:v>
                </c:pt>
                <c:pt idx="1462">
                  <c:v>1.51332</c:v>
                </c:pt>
                <c:pt idx="1463">
                  <c:v>1.49847</c:v>
                </c:pt>
                <c:pt idx="1464">
                  <c:v>1.49485</c:v>
                </c:pt>
                <c:pt idx="1465">
                  <c:v>1.5159400000000001</c:v>
                </c:pt>
                <c:pt idx="1466">
                  <c:v>1.5130399999999999</c:v>
                </c:pt>
                <c:pt idx="1467">
                  <c:v>1.51579</c:v>
                </c:pt>
                <c:pt idx="1468">
                  <c:v>1.53348</c:v>
                </c:pt>
                <c:pt idx="1469">
                  <c:v>1.52962</c:v>
                </c:pt>
                <c:pt idx="1470">
                  <c:v>1.5359100000000001</c:v>
                </c:pt>
                <c:pt idx="1471">
                  <c:v>1.5962499999999999</c:v>
                </c:pt>
                <c:pt idx="1472">
                  <c:v>1.59849</c:v>
                </c:pt>
                <c:pt idx="1473">
                  <c:v>1.6128</c:v>
                </c:pt>
                <c:pt idx="1474">
                  <c:v>1.6056300000000001</c:v>
                </c:pt>
                <c:pt idx="1475">
                  <c:v>1.6052</c:v>
                </c:pt>
                <c:pt idx="1476">
                  <c:v>1.6015200000000001</c:v>
                </c:pt>
                <c:pt idx="1477">
                  <c:v>1.5824200000000002</c:v>
                </c:pt>
                <c:pt idx="1478">
                  <c:v>1.58423</c:v>
                </c:pt>
                <c:pt idx="1479">
                  <c:v>1.5780399999999999</c:v>
                </c:pt>
                <c:pt idx="1480">
                  <c:v>1.57487</c:v>
                </c:pt>
                <c:pt idx="1481">
                  <c:v>1.5974300000000001</c:v>
                </c:pt>
                <c:pt idx="1482">
                  <c:v>1.60216</c:v>
                </c:pt>
                <c:pt idx="1483">
                  <c:v>1.5923499999999999</c:v>
                </c:pt>
                <c:pt idx="1484">
                  <c:v>1.6038699999999999</c:v>
                </c:pt>
                <c:pt idx="1485">
                  <c:v>1.5917399999999999</c:v>
                </c:pt>
                <c:pt idx="1486">
                  <c:v>1.59493</c:v>
                </c:pt>
                <c:pt idx="1487">
                  <c:v>1.57592</c:v>
                </c:pt>
                <c:pt idx="1488">
                  <c:v>1.5584800000000001</c:v>
                </c:pt>
                <c:pt idx="1489">
                  <c:v>1.56453</c:v>
                </c:pt>
                <c:pt idx="1490">
                  <c:v>1.57833</c:v>
                </c:pt>
                <c:pt idx="1491">
                  <c:v>1.5757999999999999</c:v>
                </c:pt>
                <c:pt idx="1492">
                  <c:v>1.5817300000000001</c:v>
                </c:pt>
                <c:pt idx="1493">
                  <c:v>1.5642</c:v>
                </c:pt>
                <c:pt idx="1494">
                  <c:v>1.5624</c:v>
                </c:pt>
                <c:pt idx="1495">
                  <c:v>1.5961400000000001</c:v>
                </c:pt>
                <c:pt idx="1496">
                  <c:v>1.61012</c:v>
                </c:pt>
                <c:pt idx="1497">
                  <c:v>1.5906900000000002</c:v>
                </c:pt>
                <c:pt idx="1498">
                  <c:v>1.6050199999999999</c:v>
                </c:pt>
                <c:pt idx="1499">
                  <c:v>1.59999</c:v>
                </c:pt>
                <c:pt idx="1500">
                  <c:v>1.5944100000000001</c:v>
                </c:pt>
                <c:pt idx="1501">
                  <c:v>1.5820699999999999</c:v>
                </c:pt>
                <c:pt idx="1502">
                  <c:v>1.5703199999999999</c:v>
                </c:pt>
                <c:pt idx="1503">
                  <c:v>1.5653299999999999</c:v>
                </c:pt>
                <c:pt idx="1504">
                  <c:v>1.57643</c:v>
                </c:pt>
                <c:pt idx="1505">
                  <c:v>1.5797699999999999</c:v>
                </c:pt>
                <c:pt idx="1506">
                  <c:v>1.5735999999999999</c:v>
                </c:pt>
                <c:pt idx="1507">
                  <c:v>1.57891</c:v>
                </c:pt>
                <c:pt idx="1508">
                  <c:v>1.5745</c:v>
                </c:pt>
                <c:pt idx="1509">
                  <c:v>1.5797000000000001</c:v>
                </c:pt>
                <c:pt idx="1510">
                  <c:v>1.61449</c:v>
                </c:pt>
                <c:pt idx="1511">
                  <c:v>1.6526400000000001</c:v>
                </c:pt>
                <c:pt idx="1512">
                  <c:v>1.6593599999999999</c:v>
                </c:pt>
                <c:pt idx="1513">
                  <c:v>1.67564</c:v>
                </c:pt>
                <c:pt idx="1514">
                  <c:v>1.67889</c:v>
                </c:pt>
                <c:pt idx="1515">
                  <c:v>1.6904699999999999</c:v>
                </c:pt>
                <c:pt idx="1516">
                  <c:v>1.7027999999999999</c:v>
                </c:pt>
                <c:pt idx="1517">
                  <c:v>1.70387</c:v>
                </c:pt>
                <c:pt idx="1518">
                  <c:v>1.6989700000000001</c:v>
                </c:pt>
                <c:pt idx="1519">
                  <c:v>1.7149000000000001</c:v>
                </c:pt>
                <c:pt idx="1520">
                  <c:v>1.7329400000000001</c:v>
                </c:pt>
                <c:pt idx="1521">
                  <c:v>1.7264300000000001</c:v>
                </c:pt>
                <c:pt idx="1522">
                  <c:v>1.74485</c:v>
                </c:pt>
                <c:pt idx="1523">
                  <c:v>1.73447</c:v>
                </c:pt>
                <c:pt idx="1524">
                  <c:v>1.74366</c:v>
                </c:pt>
                <c:pt idx="1525">
                  <c:v>1.7575399999999999</c:v>
                </c:pt>
                <c:pt idx="1526">
                  <c:v>1.7465299999999999</c:v>
                </c:pt>
                <c:pt idx="1527">
                  <c:v>1.7403299999999999</c:v>
                </c:pt>
                <c:pt idx="1528">
                  <c:v>1.7342200000000001</c:v>
                </c:pt>
                <c:pt idx="1529">
                  <c:v>1.74718</c:v>
                </c:pt>
                <c:pt idx="1530">
                  <c:v>1.7607000000000002</c:v>
                </c:pt>
                <c:pt idx="1531">
                  <c:v>1.7460499999999999</c:v>
                </c:pt>
                <c:pt idx="1532">
                  <c:v>1.74081</c:v>
                </c:pt>
                <c:pt idx="1533">
                  <c:v>1.71478</c:v>
                </c:pt>
                <c:pt idx="1534">
                  <c:v>1.7292799999999999</c:v>
                </c:pt>
                <c:pt idx="1535">
                  <c:v>1.70503</c:v>
                </c:pt>
                <c:pt idx="1536">
                  <c:v>1.68167</c:v>
                </c:pt>
                <c:pt idx="1537">
                  <c:v>1.6986400000000001</c:v>
                </c:pt>
                <c:pt idx="1538">
                  <c:v>1.72502</c:v>
                </c:pt>
                <c:pt idx="1539">
                  <c:v>1.7323900000000001</c:v>
                </c:pt>
                <c:pt idx="1540">
                  <c:v>1.7384000000000002</c:v>
                </c:pt>
                <c:pt idx="1541">
                  <c:v>1.72709</c:v>
                </c:pt>
                <c:pt idx="1542">
                  <c:v>1.73119</c:v>
                </c:pt>
                <c:pt idx="1543">
                  <c:v>1.7371300000000001</c:v>
                </c:pt>
                <c:pt idx="1544">
                  <c:v>1.77471</c:v>
                </c:pt>
                <c:pt idx="1545">
                  <c:v>1.7827200000000001</c:v>
                </c:pt>
                <c:pt idx="1546">
                  <c:v>1.79969</c:v>
                </c:pt>
                <c:pt idx="1547">
                  <c:v>1.7895099999999999</c:v>
                </c:pt>
                <c:pt idx="1548">
                  <c:v>1.7516700000000001</c:v>
                </c:pt>
                <c:pt idx="1549">
                  <c:v>1.75268</c:v>
                </c:pt>
                <c:pt idx="1550">
                  <c:v>1.7448699999999999</c:v>
                </c:pt>
                <c:pt idx="1551">
                  <c:v>1.75949</c:v>
                </c:pt>
                <c:pt idx="1552">
                  <c:v>1.75403</c:v>
                </c:pt>
                <c:pt idx="1553">
                  <c:v>1.74221</c:v>
                </c:pt>
                <c:pt idx="1554">
                  <c:v>1.7530599999999998</c:v>
                </c:pt>
                <c:pt idx="1555">
                  <c:v>1.7601099999999998</c:v>
                </c:pt>
                <c:pt idx="1556">
                  <c:v>1.7596099999999999</c:v>
                </c:pt>
                <c:pt idx="1557">
                  <c:v>1.72777</c:v>
                </c:pt>
                <c:pt idx="1558">
                  <c:v>1.7250699999999999</c:v>
                </c:pt>
                <c:pt idx="1559">
                  <c:v>1.7505299999999999</c:v>
                </c:pt>
                <c:pt idx="1560">
                  <c:v>1.74126</c:v>
                </c:pt>
                <c:pt idx="1561">
                  <c:v>1.75065</c:v>
                </c:pt>
                <c:pt idx="1562">
                  <c:v>1.7631700000000001</c:v>
                </c:pt>
                <c:pt idx="1563">
                  <c:v>1.748</c:v>
                </c:pt>
                <c:pt idx="1564">
                  <c:v>1.74834</c:v>
                </c:pt>
                <c:pt idx="1565">
                  <c:v>1.7144900000000001</c:v>
                </c:pt>
                <c:pt idx="1566">
                  <c:v>1.7306600000000001</c:v>
                </c:pt>
                <c:pt idx="1567">
                  <c:v>1.72132</c:v>
                </c:pt>
                <c:pt idx="1568">
                  <c:v>1.74132</c:v>
                </c:pt>
                <c:pt idx="1569">
                  <c:v>1.7375</c:v>
                </c:pt>
                <c:pt idx="1570">
                  <c:v>1.7254200000000002</c:v>
                </c:pt>
                <c:pt idx="1571">
                  <c:v>1.7320799999999998</c:v>
                </c:pt>
                <c:pt idx="1572">
                  <c:v>1.7335399999999999</c:v>
                </c:pt>
                <c:pt idx="1573">
                  <c:v>1.7568199999999998</c:v>
                </c:pt>
                <c:pt idx="1574">
                  <c:v>1.7418699999999998</c:v>
                </c:pt>
                <c:pt idx="1575">
                  <c:v>1.5908099999999998</c:v>
                </c:pt>
                <c:pt idx="1576">
                  <c:v>1.6636500000000001</c:v>
                </c:pt>
                <c:pt idx="1577">
                  <c:v>1.6809100000000001</c:v>
                </c:pt>
                <c:pt idx="1578">
                  <c:v>1.6961199999999999</c:v>
                </c:pt>
                <c:pt idx="1579">
                  <c:v>1.66876</c:v>
                </c:pt>
                <c:pt idx="1580">
                  <c:v>1.63995</c:v>
                </c:pt>
                <c:pt idx="1581">
                  <c:v>1.6794100000000001</c:v>
                </c:pt>
                <c:pt idx="1582">
                  <c:v>1.7184000000000001</c:v>
                </c:pt>
                <c:pt idx="1583">
                  <c:v>1.71075</c:v>
                </c:pt>
                <c:pt idx="1584">
                  <c:v>1.7120799999999998</c:v>
                </c:pt>
                <c:pt idx="1585">
                  <c:v>1.7308699999999999</c:v>
                </c:pt>
                <c:pt idx="1586">
                  <c:v>1.7350099999999999</c:v>
                </c:pt>
                <c:pt idx="1587">
                  <c:v>1.7387900000000001</c:v>
                </c:pt>
                <c:pt idx="1588">
                  <c:v>1.7665599999999999</c:v>
                </c:pt>
                <c:pt idx="1589">
                  <c:v>1.7804899999999999</c:v>
                </c:pt>
                <c:pt idx="1590">
                  <c:v>1.7766500000000001</c:v>
                </c:pt>
                <c:pt idx="1591">
                  <c:v>1.7797799999999999</c:v>
                </c:pt>
                <c:pt idx="1592">
                  <c:v>1.78007</c:v>
                </c:pt>
                <c:pt idx="1593">
                  <c:v>1.75115</c:v>
                </c:pt>
                <c:pt idx="1594">
                  <c:v>1.7638900000000002</c:v>
                </c:pt>
                <c:pt idx="1595">
                  <c:v>1.7702</c:v>
                </c:pt>
                <c:pt idx="1596">
                  <c:v>1.7759800000000001</c:v>
                </c:pt>
                <c:pt idx="1597">
                  <c:v>1.7835000000000001</c:v>
                </c:pt>
                <c:pt idx="1598">
                  <c:v>1.80857</c:v>
                </c:pt>
                <c:pt idx="1599">
                  <c:v>1.8187</c:v>
                </c:pt>
                <c:pt idx="1600">
                  <c:v>1.8037799999999999</c:v>
                </c:pt>
                <c:pt idx="1601">
                  <c:v>1.8008199999999999</c:v>
                </c:pt>
                <c:pt idx="1602">
                  <c:v>1.7883800000000001</c:v>
                </c:pt>
                <c:pt idx="1603">
                  <c:v>1.7950299999999999</c:v>
                </c:pt>
                <c:pt idx="1604">
                  <c:v>1.7997300000000001</c:v>
                </c:pt>
                <c:pt idx="1605">
                  <c:v>1.7934300000000001</c:v>
                </c:pt>
                <c:pt idx="1606">
                  <c:v>1.7683800000000001</c:v>
                </c:pt>
                <c:pt idx="1607">
                  <c:v>1.76732</c:v>
                </c:pt>
                <c:pt idx="1608">
                  <c:v>1.7847899999999999</c:v>
                </c:pt>
                <c:pt idx="1609">
                  <c:v>1.7876700000000001</c:v>
                </c:pt>
                <c:pt idx="1610">
                  <c:v>1.7838800000000001</c:v>
                </c:pt>
                <c:pt idx="1611">
                  <c:v>1.7822</c:v>
                </c:pt>
                <c:pt idx="1612">
                  <c:v>1.78874</c:v>
                </c:pt>
                <c:pt idx="1613">
                  <c:v>1.7836500000000002</c:v>
                </c:pt>
                <c:pt idx="1614">
                  <c:v>1.80775</c:v>
                </c:pt>
                <c:pt idx="1615">
                  <c:v>1.80552</c:v>
                </c:pt>
                <c:pt idx="1616">
                  <c:v>1.80758</c:v>
                </c:pt>
                <c:pt idx="1617">
                  <c:v>1.8077300000000001</c:v>
                </c:pt>
                <c:pt idx="1618">
                  <c:v>1.7726600000000001</c:v>
                </c:pt>
                <c:pt idx="1619">
                  <c:v>1.7840199999999999</c:v>
                </c:pt>
                <c:pt idx="1620">
                  <c:v>1.7772399999999999</c:v>
                </c:pt>
                <c:pt idx="1621">
                  <c:v>1.7729300000000001</c:v>
                </c:pt>
                <c:pt idx="1622">
                  <c:v>1.75407</c:v>
                </c:pt>
                <c:pt idx="1623">
                  <c:v>1.7415399999999999</c:v>
                </c:pt>
                <c:pt idx="1624">
                  <c:v>1.72777</c:v>
                </c:pt>
                <c:pt idx="1625">
                  <c:v>1.7294800000000001</c:v>
                </c:pt>
                <c:pt idx="1626">
                  <c:v>1.7576700000000001</c:v>
                </c:pt>
                <c:pt idx="1627">
                  <c:v>1.7521300000000002</c:v>
                </c:pt>
                <c:pt idx="1628">
                  <c:v>1.7562599999999999</c:v>
                </c:pt>
                <c:pt idx="1629">
                  <c:v>1.74844</c:v>
                </c:pt>
                <c:pt idx="1630">
                  <c:v>1.7412100000000001</c:v>
                </c:pt>
                <c:pt idx="1631">
                  <c:v>1.7612099999999999</c:v>
                </c:pt>
                <c:pt idx="1632">
                  <c:v>1.7583499999999999</c:v>
                </c:pt>
                <c:pt idx="1633">
                  <c:v>1.7974600000000001</c:v>
                </c:pt>
                <c:pt idx="1634">
                  <c:v>1.8218299999999998</c:v>
                </c:pt>
                <c:pt idx="1635">
                  <c:v>1.8095399999999999</c:v>
                </c:pt>
                <c:pt idx="1636">
                  <c:v>1.8108499999999998</c:v>
                </c:pt>
                <c:pt idx="1637">
                  <c:v>1.84846</c:v>
                </c:pt>
                <c:pt idx="1638">
                  <c:v>1.8438699999999999</c:v>
                </c:pt>
                <c:pt idx="1639">
                  <c:v>1.8648900000000002</c:v>
                </c:pt>
                <c:pt idx="1640">
                  <c:v>1.8598399999999999</c:v>
                </c:pt>
                <c:pt idx="1641">
                  <c:v>1.8365</c:v>
                </c:pt>
                <c:pt idx="1642">
                  <c:v>1.8232200000000001</c:v>
                </c:pt>
                <c:pt idx="1643">
                  <c:v>1.84107</c:v>
                </c:pt>
                <c:pt idx="1644">
                  <c:v>1.82548</c:v>
                </c:pt>
                <c:pt idx="1645">
                  <c:v>1.8047200000000001</c:v>
                </c:pt>
                <c:pt idx="1646">
                  <c:v>1.79179</c:v>
                </c:pt>
                <c:pt idx="1647">
                  <c:v>1.77376</c:v>
                </c:pt>
                <c:pt idx="1648">
                  <c:v>1.7559</c:v>
                </c:pt>
                <c:pt idx="1649">
                  <c:v>1.76518</c:v>
                </c:pt>
                <c:pt idx="1650">
                  <c:v>1.78267</c:v>
                </c:pt>
                <c:pt idx="1651">
                  <c:v>1.7907599999999999</c:v>
                </c:pt>
                <c:pt idx="1652">
                  <c:v>1.7967500000000001</c:v>
                </c:pt>
                <c:pt idx="1653">
                  <c:v>1.7987200000000001</c:v>
                </c:pt>
                <c:pt idx="1654">
                  <c:v>1.8021500000000001</c:v>
                </c:pt>
                <c:pt idx="1655">
                  <c:v>1.8283099999999999</c:v>
                </c:pt>
                <c:pt idx="1656">
                  <c:v>1.82057</c:v>
                </c:pt>
                <c:pt idx="1657">
                  <c:v>1.80681</c:v>
                </c:pt>
                <c:pt idx="1658">
                  <c:v>1.80731</c:v>
                </c:pt>
                <c:pt idx="1659">
                  <c:v>1.8086300000000002</c:v>
                </c:pt>
                <c:pt idx="1660">
                  <c:v>1.82074</c:v>
                </c:pt>
                <c:pt idx="1661">
                  <c:v>1.8052699999999999</c:v>
                </c:pt>
                <c:pt idx="1662">
                  <c:v>1.82142</c:v>
                </c:pt>
                <c:pt idx="1663">
                  <c:v>1.7965499999999999</c:v>
                </c:pt>
                <c:pt idx="1664">
                  <c:v>1.8108900000000001</c:v>
                </c:pt>
                <c:pt idx="1665">
                  <c:v>1.8094100000000002</c:v>
                </c:pt>
                <c:pt idx="1666">
                  <c:v>1.79769</c:v>
                </c:pt>
                <c:pt idx="1667">
                  <c:v>1.7922199999999999</c:v>
                </c:pt>
                <c:pt idx="1668">
                  <c:v>1.78678</c:v>
                </c:pt>
                <c:pt idx="1669">
                  <c:v>1.79958</c:v>
                </c:pt>
                <c:pt idx="1670">
                  <c:v>1.8139799999999999</c:v>
                </c:pt>
                <c:pt idx="1671">
                  <c:v>1.82128</c:v>
                </c:pt>
                <c:pt idx="1672">
                  <c:v>1.79175</c:v>
                </c:pt>
                <c:pt idx="1673">
                  <c:v>1.8101500000000001</c:v>
                </c:pt>
                <c:pt idx="1674">
                  <c:v>1.8423399999999999</c:v>
                </c:pt>
                <c:pt idx="1675">
                  <c:v>1.8483499999999999</c:v>
                </c:pt>
                <c:pt idx="1676">
                  <c:v>1.8762300000000001</c:v>
                </c:pt>
                <c:pt idx="1677">
                  <c:v>1.8629</c:v>
                </c:pt>
                <c:pt idx="1678">
                  <c:v>1.8688</c:v>
                </c:pt>
                <c:pt idx="1679">
                  <c:v>1.87066</c:v>
                </c:pt>
                <c:pt idx="1680">
                  <c:v>1.8648</c:v>
                </c:pt>
                <c:pt idx="1681">
                  <c:v>1.8557300000000001</c:v>
                </c:pt>
                <c:pt idx="1682">
                  <c:v>1.86121</c:v>
                </c:pt>
                <c:pt idx="1683">
                  <c:v>1.8621400000000001</c:v>
                </c:pt>
                <c:pt idx="1684">
                  <c:v>1.87378</c:v>
                </c:pt>
                <c:pt idx="1685">
                  <c:v>1.8756300000000001</c:v>
                </c:pt>
                <c:pt idx="1686">
                  <c:v>1.88043</c:v>
                </c:pt>
                <c:pt idx="1687">
                  <c:v>1.8918900000000001</c:v>
                </c:pt>
                <c:pt idx="1688">
                  <c:v>1.8906400000000001</c:v>
                </c:pt>
                <c:pt idx="1689">
                  <c:v>1.9013199999999999</c:v>
                </c:pt>
                <c:pt idx="1690">
                  <c:v>1.9306099999999999</c:v>
                </c:pt>
                <c:pt idx="1691">
                  <c:v>1.9279900000000001</c:v>
                </c:pt>
                <c:pt idx="1692">
                  <c:v>1.92408</c:v>
                </c:pt>
                <c:pt idx="1693">
                  <c:v>1.9463499999999998</c:v>
                </c:pt>
                <c:pt idx="1694">
                  <c:v>1.9520299999999999</c:v>
                </c:pt>
                <c:pt idx="1695">
                  <c:v>1.9665299999999999</c:v>
                </c:pt>
                <c:pt idx="1696">
                  <c:v>1.95417</c:v>
                </c:pt>
                <c:pt idx="1697">
                  <c:v>2.0025499999999998</c:v>
                </c:pt>
                <c:pt idx="1698">
                  <c:v>2.00745</c:v>
                </c:pt>
                <c:pt idx="1699">
                  <c:v>2.0065</c:v>
                </c:pt>
                <c:pt idx="1700">
                  <c:v>1.98641</c:v>
                </c:pt>
                <c:pt idx="1701">
                  <c:v>2.0272999999999999</c:v>
                </c:pt>
                <c:pt idx="1702">
                  <c:v>2.0050300000000001</c:v>
                </c:pt>
                <c:pt idx="1703">
                  <c:v>1.9928699999999999</c:v>
                </c:pt>
                <c:pt idx="1704">
                  <c:v>1.99427</c:v>
                </c:pt>
                <c:pt idx="1705">
                  <c:v>1.9864999999999999</c:v>
                </c:pt>
                <c:pt idx="1706">
                  <c:v>1.97102</c:v>
                </c:pt>
                <c:pt idx="1707">
                  <c:v>1.9213399999999998</c:v>
                </c:pt>
                <c:pt idx="1708">
                  <c:v>1.9495100000000001</c:v>
                </c:pt>
                <c:pt idx="1709">
                  <c:v>1.93618</c:v>
                </c:pt>
                <c:pt idx="1710">
                  <c:v>1.9565699999999999</c:v>
                </c:pt>
                <c:pt idx="1711">
                  <c:v>1.94815</c:v>
                </c:pt>
                <c:pt idx="1712">
                  <c:v>1.9194899999999999</c:v>
                </c:pt>
                <c:pt idx="1713">
                  <c:v>1.9031199999999999</c:v>
                </c:pt>
                <c:pt idx="1714">
                  <c:v>1.8735200000000001</c:v>
                </c:pt>
                <c:pt idx="1715">
                  <c:v>1.86893</c:v>
                </c:pt>
                <c:pt idx="1716">
                  <c:v>1.8891500000000001</c:v>
                </c:pt>
                <c:pt idx="1717">
                  <c:v>1.88686</c:v>
                </c:pt>
                <c:pt idx="1718">
                  <c:v>1.8530799999999998</c:v>
                </c:pt>
                <c:pt idx="1719">
                  <c:v>1.8718800000000002</c:v>
                </c:pt>
                <c:pt idx="1720">
                  <c:v>1.8528199999999999</c:v>
                </c:pt>
                <c:pt idx="1721">
                  <c:v>1.89899</c:v>
                </c:pt>
                <c:pt idx="1722">
                  <c:v>1.9033900000000001</c:v>
                </c:pt>
                <c:pt idx="1723">
                  <c:v>1.9201199999999998</c:v>
                </c:pt>
                <c:pt idx="1724">
                  <c:v>1.9501900000000001</c:v>
                </c:pt>
                <c:pt idx="1725">
                  <c:v>1.9789100000000002</c:v>
                </c:pt>
                <c:pt idx="1726">
                  <c:v>1.9725899999999998</c:v>
                </c:pt>
                <c:pt idx="1727">
                  <c:v>1.9418800000000001</c:v>
                </c:pt>
                <c:pt idx="1728">
                  <c:v>1.9347399999999999</c:v>
                </c:pt>
                <c:pt idx="1729">
                  <c:v>1.9191199999999999</c:v>
                </c:pt>
                <c:pt idx="1730">
                  <c:v>1.9225999999999999</c:v>
                </c:pt>
                <c:pt idx="1731">
                  <c:v>1.9230399999999999</c:v>
                </c:pt>
                <c:pt idx="1732">
                  <c:v>1.9172899999999999</c:v>
                </c:pt>
                <c:pt idx="1733">
                  <c:v>1.9196199999999999</c:v>
                </c:pt>
                <c:pt idx="1734">
                  <c:v>1.8943099999999999</c:v>
                </c:pt>
                <c:pt idx="1735">
                  <c:v>1.90801</c:v>
                </c:pt>
                <c:pt idx="1736">
                  <c:v>1.91442</c:v>
                </c:pt>
                <c:pt idx="1737">
                  <c:v>1.8908399999999999</c:v>
                </c:pt>
                <c:pt idx="1738">
                  <c:v>1.8578699999999999</c:v>
                </c:pt>
                <c:pt idx="1739">
                  <c:v>1.8870100000000001</c:v>
                </c:pt>
                <c:pt idx="1740">
                  <c:v>1.9290999999999998</c:v>
                </c:pt>
                <c:pt idx="1741">
                  <c:v>1.9438299999999999</c:v>
                </c:pt>
                <c:pt idx="1742">
                  <c:v>1.93285</c:v>
                </c:pt>
                <c:pt idx="1743">
                  <c:v>1.97709</c:v>
                </c:pt>
              </c:numCache>
            </c:numRef>
          </c:val>
          <c:smooth val="0"/>
          <c:extLst>
            <c:ext xmlns:c16="http://schemas.microsoft.com/office/drawing/2014/chart" uri="{C3380CC4-5D6E-409C-BE32-E72D297353CC}">
              <c16:uniqueId val="{00000000-F6CD-4EFC-AF0A-BA87ADBAC5A0}"/>
            </c:ext>
          </c:extLst>
        </c:ser>
        <c:ser>
          <c:idx val="1"/>
          <c:order val="1"/>
          <c:tx>
            <c:strRef>
              <c:f>значения!$H$1</c:f>
              <c:strCache>
                <c:ptCount val="1"/>
                <c:pt idx="0">
                  <c:v>Индекс "Вектор устойчивого развития"</c:v>
                </c:pt>
              </c:strCache>
            </c:strRef>
          </c:tx>
          <c:spPr>
            <a:ln w="15875" cap="rnd">
              <a:solidFill>
                <a:srgbClr val="51626F"/>
              </a:solidFill>
              <a:round/>
            </a:ln>
            <a:effectLst/>
          </c:spPr>
          <c:marker>
            <c:symbol val="none"/>
          </c:marker>
          <c:cat>
            <c:numRef>
              <c:f>значения!$A$2:$A$1745</c:f>
              <c:numCache>
                <c:formatCode>m/d/yyyy</c:formatCode>
                <c:ptCount val="1744"/>
                <c:pt idx="0">
                  <c:v>40907</c:v>
                </c:pt>
                <c:pt idx="1">
                  <c:v>40911</c:v>
                </c:pt>
                <c:pt idx="2">
                  <c:v>40912</c:v>
                </c:pt>
                <c:pt idx="3">
                  <c:v>40913</c:v>
                </c:pt>
                <c:pt idx="4">
                  <c:v>40914</c:v>
                </c:pt>
                <c:pt idx="5">
                  <c:v>40917</c:v>
                </c:pt>
                <c:pt idx="6">
                  <c:v>40918</c:v>
                </c:pt>
                <c:pt idx="7">
                  <c:v>40919</c:v>
                </c:pt>
                <c:pt idx="8">
                  <c:v>40920</c:v>
                </c:pt>
                <c:pt idx="9">
                  <c:v>40921</c:v>
                </c:pt>
                <c:pt idx="10">
                  <c:v>40924</c:v>
                </c:pt>
                <c:pt idx="11">
                  <c:v>40925</c:v>
                </c:pt>
                <c:pt idx="12">
                  <c:v>40926</c:v>
                </c:pt>
                <c:pt idx="13">
                  <c:v>40927</c:v>
                </c:pt>
                <c:pt idx="14">
                  <c:v>40928</c:v>
                </c:pt>
                <c:pt idx="15">
                  <c:v>40931</c:v>
                </c:pt>
                <c:pt idx="16">
                  <c:v>40932</c:v>
                </c:pt>
                <c:pt idx="17">
                  <c:v>40933</c:v>
                </c:pt>
                <c:pt idx="18">
                  <c:v>40934</c:v>
                </c:pt>
                <c:pt idx="19">
                  <c:v>40935</c:v>
                </c:pt>
                <c:pt idx="20">
                  <c:v>40938</c:v>
                </c:pt>
                <c:pt idx="21">
                  <c:v>40939</c:v>
                </c:pt>
                <c:pt idx="22">
                  <c:v>40940</c:v>
                </c:pt>
                <c:pt idx="23">
                  <c:v>40941</c:v>
                </c:pt>
                <c:pt idx="24">
                  <c:v>40942</c:v>
                </c:pt>
                <c:pt idx="25">
                  <c:v>40945</c:v>
                </c:pt>
                <c:pt idx="26">
                  <c:v>40946</c:v>
                </c:pt>
                <c:pt idx="27">
                  <c:v>40947</c:v>
                </c:pt>
                <c:pt idx="28">
                  <c:v>40948</c:v>
                </c:pt>
                <c:pt idx="29">
                  <c:v>40949</c:v>
                </c:pt>
                <c:pt idx="30">
                  <c:v>40952</c:v>
                </c:pt>
                <c:pt idx="31">
                  <c:v>40953</c:v>
                </c:pt>
                <c:pt idx="32">
                  <c:v>40954</c:v>
                </c:pt>
                <c:pt idx="33">
                  <c:v>40955</c:v>
                </c:pt>
                <c:pt idx="34">
                  <c:v>40956</c:v>
                </c:pt>
                <c:pt idx="35">
                  <c:v>40959</c:v>
                </c:pt>
                <c:pt idx="36">
                  <c:v>40960</c:v>
                </c:pt>
                <c:pt idx="37">
                  <c:v>40961</c:v>
                </c:pt>
                <c:pt idx="38">
                  <c:v>40963</c:v>
                </c:pt>
                <c:pt idx="39">
                  <c:v>40966</c:v>
                </c:pt>
                <c:pt idx="40">
                  <c:v>40967</c:v>
                </c:pt>
                <c:pt idx="41">
                  <c:v>40968</c:v>
                </c:pt>
                <c:pt idx="42">
                  <c:v>40969</c:v>
                </c:pt>
                <c:pt idx="43">
                  <c:v>40970</c:v>
                </c:pt>
                <c:pt idx="44">
                  <c:v>40973</c:v>
                </c:pt>
                <c:pt idx="45">
                  <c:v>40974</c:v>
                </c:pt>
                <c:pt idx="46">
                  <c:v>40975</c:v>
                </c:pt>
                <c:pt idx="47">
                  <c:v>40979</c:v>
                </c:pt>
                <c:pt idx="48">
                  <c:v>40980</c:v>
                </c:pt>
                <c:pt idx="49">
                  <c:v>40981</c:v>
                </c:pt>
                <c:pt idx="50">
                  <c:v>40982</c:v>
                </c:pt>
                <c:pt idx="51">
                  <c:v>40983</c:v>
                </c:pt>
                <c:pt idx="52">
                  <c:v>40984</c:v>
                </c:pt>
                <c:pt idx="53">
                  <c:v>40987</c:v>
                </c:pt>
                <c:pt idx="54">
                  <c:v>40988</c:v>
                </c:pt>
                <c:pt idx="55">
                  <c:v>40989</c:v>
                </c:pt>
                <c:pt idx="56">
                  <c:v>40990</c:v>
                </c:pt>
                <c:pt idx="57">
                  <c:v>40991</c:v>
                </c:pt>
                <c:pt idx="58">
                  <c:v>40994</c:v>
                </c:pt>
                <c:pt idx="59">
                  <c:v>40995</c:v>
                </c:pt>
                <c:pt idx="60">
                  <c:v>40996</c:v>
                </c:pt>
                <c:pt idx="61">
                  <c:v>40997</c:v>
                </c:pt>
                <c:pt idx="62">
                  <c:v>40998</c:v>
                </c:pt>
                <c:pt idx="63">
                  <c:v>41001</c:v>
                </c:pt>
                <c:pt idx="64">
                  <c:v>41002</c:v>
                </c:pt>
                <c:pt idx="65">
                  <c:v>41003</c:v>
                </c:pt>
                <c:pt idx="66">
                  <c:v>41004</c:v>
                </c:pt>
                <c:pt idx="67">
                  <c:v>41005</c:v>
                </c:pt>
                <c:pt idx="68">
                  <c:v>41008</c:v>
                </c:pt>
                <c:pt idx="69">
                  <c:v>41009</c:v>
                </c:pt>
                <c:pt idx="70">
                  <c:v>41010</c:v>
                </c:pt>
                <c:pt idx="71">
                  <c:v>41011</c:v>
                </c:pt>
                <c:pt idx="72">
                  <c:v>41012</c:v>
                </c:pt>
                <c:pt idx="73">
                  <c:v>41015</c:v>
                </c:pt>
                <c:pt idx="74">
                  <c:v>41016</c:v>
                </c:pt>
                <c:pt idx="75">
                  <c:v>41017</c:v>
                </c:pt>
                <c:pt idx="76">
                  <c:v>41018</c:v>
                </c:pt>
                <c:pt idx="77">
                  <c:v>41019</c:v>
                </c:pt>
                <c:pt idx="78">
                  <c:v>41022</c:v>
                </c:pt>
                <c:pt idx="79">
                  <c:v>41023</c:v>
                </c:pt>
                <c:pt idx="80">
                  <c:v>41024</c:v>
                </c:pt>
                <c:pt idx="81">
                  <c:v>41025</c:v>
                </c:pt>
                <c:pt idx="82">
                  <c:v>41026</c:v>
                </c:pt>
                <c:pt idx="83">
                  <c:v>41027</c:v>
                </c:pt>
                <c:pt idx="84">
                  <c:v>41031</c:v>
                </c:pt>
                <c:pt idx="85">
                  <c:v>41032</c:v>
                </c:pt>
                <c:pt idx="86">
                  <c:v>41033</c:v>
                </c:pt>
                <c:pt idx="87">
                  <c:v>41034</c:v>
                </c:pt>
                <c:pt idx="88">
                  <c:v>41036</c:v>
                </c:pt>
                <c:pt idx="89">
                  <c:v>41037</c:v>
                </c:pt>
                <c:pt idx="90">
                  <c:v>41039</c:v>
                </c:pt>
                <c:pt idx="91">
                  <c:v>41040</c:v>
                </c:pt>
                <c:pt idx="92">
                  <c:v>41041</c:v>
                </c:pt>
                <c:pt idx="93">
                  <c:v>41043</c:v>
                </c:pt>
                <c:pt idx="94">
                  <c:v>41044</c:v>
                </c:pt>
                <c:pt idx="95">
                  <c:v>41045</c:v>
                </c:pt>
                <c:pt idx="96">
                  <c:v>41046</c:v>
                </c:pt>
                <c:pt idx="97">
                  <c:v>41047</c:v>
                </c:pt>
                <c:pt idx="98">
                  <c:v>41050</c:v>
                </c:pt>
                <c:pt idx="99">
                  <c:v>41051</c:v>
                </c:pt>
                <c:pt idx="100">
                  <c:v>41052</c:v>
                </c:pt>
                <c:pt idx="101">
                  <c:v>41053</c:v>
                </c:pt>
                <c:pt idx="102">
                  <c:v>41054</c:v>
                </c:pt>
                <c:pt idx="103">
                  <c:v>41057</c:v>
                </c:pt>
                <c:pt idx="104">
                  <c:v>41058</c:v>
                </c:pt>
                <c:pt idx="105">
                  <c:v>41059</c:v>
                </c:pt>
                <c:pt idx="106">
                  <c:v>41060</c:v>
                </c:pt>
                <c:pt idx="107">
                  <c:v>41061</c:v>
                </c:pt>
                <c:pt idx="108">
                  <c:v>41064</c:v>
                </c:pt>
                <c:pt idx="109">
                  <c:v>41065</c:v>
                </c:pt>
                <c:pt idx="110">
                  <c:v>41066</c:v>
                </c:pt>
                <c:pt idx="111">
                  <c:v>41067</c:v>
                </c:pt>
                <c:pt idx="112">
                  <c:v>41068</c:v>
                </c:pt>
                <c:pt idx="113">
                  <c:v>41069</c:v>
                </c:pt>
                <c:pt idx="114">
                  <c:v>41073</c:v>
                </c:pt>
                <c:pt idx="115">
                  <c:v>41074</c:v>
                </c:pt>
                <c:pt idx="116">
                  <c:v>41075</c:v>
                </c:pt>
                <c:pt idx="117">
                  <c:v>41078</c:v>
                </c:pt>
                <c:pt idx="118">
                  <c:v>41079</c:v>
                </c:pt>
                <c:pt idx="119">
                  <c:v>41080</c:v>
                </c:pt>
                <c:pt idx="120">
                  <c:v>41081</c:v>
                </c:pt>
                <c:pt idx="121">
                  <c:v>41082</c:v>
                </c:pt>
                <c:pt idx="122">
                  <c:v>41085</c:v>
                </c:pt>
                <c:pt idx="123">
                  <c:v>41086</c:v>
                </c:pt>
                <c:pt idx="124">
                  <c:v>41087</c:v>
                </c:pt>
                <c:pt idx="125">
                  <c:v>41088</c:v>
                </c:pt>
                <c:pt idx="126">
                  <c:v>41089</c:v>
                </c:pt>
                <c:pt idx="127">
                  <c:v>41092</c:v>
                </c:pt>
                <c:pt idx="128">
                  <c:v>41093</c:v>
                </c:pt>
                <c:pt idx="129">
                  <c:v>41094</c:v>
                </c:pt>
                <c:pt idx="130">
                  <c:v>41095</c:v>
                </c:pt>
                <c:pt idx="131">
                  <c:v>41096</c:v>
                </c:pt>
                <c:pt idx="132">
                  <c:v>41099</c:v>
                </c:pt>
                <c:pt idx="133">
                  <c:v>41100</c:v>
                </c:pt>
                <c:pt idx="134">
                  <c:v>41101</c:v>
                </c:pt>
                <c:pt idx="135">
                  <c:v>41102</c:v>
                </c:pt>
                <c:pt idx="136">
                  <c:v>41103</c:v>
                </c:pt>
                <c:pt idx="137">
                  <c:v>41106</c:v>
                </c:pt>
                <c:pt idx="138">
                  <c:v>41107</c:v>
                </c:pt>
                <c:pt idx="139">
                  <c:v>41108</c:v>
                </c:pt>
                <c:pt idx="140">
                  <c:v>41109</c:v>
                </c:pt>
                <c:pt idx="141">
                  <c:v>41110</c:v>
                </c:pt>
                <c:pt idx="142">
                  <c:v>41113</c:v>
                </c:pt>
                <c:pt idx="143">
                  <c:v>41114</c:v>
                </c:pt>
                <c:pt idx="144">
                  <c:v>41115</c:v>
                </c:pt>
                <c:pt idx="145">
                  <c:v>41116</c:v>
                </c:pt>
                <c:pt idx="146">
                  <c:v>41117</c:v>
                </c:pt>
                <c:pt idx="147">
                  <c:v>41120</c:v>
                </c:pt>
                <c:pt idx="148">
                  <c:v>41121</c:v>
                </c:pt>
                <c:pt idx="149">
                  <c:v>41122</c:v>
                </c:pt>
                <c:pt idx="150">
                  <c:v>41123</c:v>
                </c:pt>
                <c:pt idx="151">
                  <c:v>41124</c:v>
                </c:pt>
                <c:pt idx="152">
                  <c:v>41127</c:v>
                </c:pt>
                <c:pt idx="153">
                  <c:v>41128</c:v>
                </c:pt>
                <c:pt idx="154">
                  <c:v>41129</c:v>
                </c:pt>
                <c:pt idx="155">
                  <c:v>41130</c:v>
                </c:pt>
                <c:pt idx="156">
                  <c:v>41131</c:v>
                </c:pt>
                <c:pt idx="157">
                  <c:v>41134</c:v>
                </c:pt>
                <c:pt idx="158">
                  <c:v>41135</c:v>
                </c:pt>
                <c:pt idx="159">
                  <c:v>41136</c:v>
                </c:pt>
                <c:pt idx="160">
                  <c:v>41137</c:v>
                </c:pt>
                <c:pt idx="161">
                  <c:v>41138</c:v>
                </c:pt>
                <c:pt idx="162">
                  <c:v>41141</c:v>
                </c:pt>
                <c:pt idx="163">
                  <c:v>41142</c:v>
                </c:pt>
                <c:pt idx="164">
                  <c:v>41143</c:v>
                </c:pt>
                <c:pt idx="165">
                  <c:v>41144</c:v>
                </c:pt>
                <c:pt idx="166">
                  <c:v>41145</c:v>
                </c:pt>
                <c:pt idx="167">
                  <c:v>41148</c:v>
                </c:pt>
                <c:pt idx="168">
                  <c:v>41149</c:v>
                </c:pt>
                <c:pt idx="169">
                  <c:v>41150</c:v>
                </c:pt>
                <c:pt idx="170">
                  <c:v>41151</c:v>
                </c:pt>
                <c:pt idx="171">
                  <c:v>41152</c:v>
                </c:pt>
                <c:pt idx="172">
                  <c:v>41155</c:v>
                </c:pt>
                <c:pt idx="173">
                  <c:v>41156</c:v>
                </c:pt>
                <c:pt idx="174">
                  <c:v>41157</c:v>
                </c:pt>
                <c:pt idx="175">
                  <c:v>41158</c:v>
                </c:pt>
                <c:pt idx="176">
                  <c:v>41159</c:v>
                </c:pt>
                <c:pt idx="177">
                  <c:v>41162</c:v>
                </c:pt>
                <c:pt idx="178">
                  <c:v>41163</c:v>
                </c:pt>
                <c:pt idx="179">
                  <c:v>41164</c:v>
                </c:pt>
                <c:pt idx="180">
                  <c:v>41165</c:v>
                </c:pt>
                <c:pt idx="181">
                  <c:v>41166</c:v>
                </c:pt>
                <c:pt idx="182">
                  <c:v>41169</c:v>
                </c:pt>
                <c:pt idx="183">
                  <c:v>41170</c:v>
                </c:pt>
                <c:pt idx="184">
                  <c:v>41171</c:v>
                </c:pt>
                <c:pt idx="185">
                  <c:v>41172</c:v>
                </c:pt>
                <c:pt idx="186">
                  <c:v>41173</c:v>
                </c:pt>
                <c:pt idx="187">
                  <c:v>41176</c:v>
                </c:pt>
                <c:pt idx="188">
                  <c:v>41177</c:v>
                </c:pt>
                <c:pt idx="189">
                  <c:v>41178</c:v>
                </c:pt>
                <c:pt idx="190">
                  <c:v>41179</c:v>
                </c:pt>
                <c:pt idx="191">
                  <c:v>41180</c:v>
                </c:pt>
                <c:pt idx="192">
                  <c:v>41183</c:v>
                </c:pt>
                <c:pt idx="193">
                  <c:v>41184</c:v>
                </c:pt>
                <c:pt idx="194">
                  <c:v>41185</c:v>
                </c:pt>
                <c:pt idx="195">
                  <c:v>41186</c:v>
                </c:pt>
                <c:pt idx="196">
                  <c:v>41187</c:v>
                </c:pt>
                <c:pt idx="197">
                  <c:v>41190</c:v>
                </c:pt>
                <c:pt idx="198">
                  <c:v>41191</c:v>
                </c:pt>
                <c:pt idx="199">
                  <c:v>41192</c:v>
                </c:pt>
                <c:pt idx="200">
                  <c:v>41193</c:v>
                </c:pt>
                <c:pt idx="201">
                  <c:v>41194</c:v>
                </c:pt>
                <c:pt idx="202">
                  <c:v>41197</c:v>
                </c:pt>
                <c:pt idx="203">
                  <c:v>41198</c:v>
                </c:pt>
                <c:pt idx="204">
                  <c:v>41199</c:v>
                </c:pt>
                <c:pt idx="205">
                  <c:v>41200</c:v>
                </c:pt>
                <c:pt idx="206">
                  <c:v>41201</c:v>
                </c:pt>
                <c:pt idx="207">
                  <c:v>41204</c:v>
                </c:pt>
                <c:pt idx="208">
                  <c:v>41205</c:v>
                </c:pt>
                <c:pt idx="209">
                  <c:v>41206</c:v>
                </c:pt>
                <c:pt idx="210">
                  <c:v>41207</c:v>
                </c:pt>
                <c:pt idx="211">
                  <c:v>41208</c:v>
                </c:pt>
                <c:pt idx="212">
                  <c:v>41211</c:v>
                </c:pt>
                <c:pt idx="213">
                  <c:v>41212</c:v>
                </c:pt>
                <c:pt idx="214">
                  <c:v>41213</c:v>
                </c:pt>
                <c:pt idx="215">
                  <c:v>41214</c:v>
                </c:pt>
                <c:pt idx="216">
                  <c:v>41215</c:v>
                </c:pt>
                <c:pt idx="217">
                  <c:v>41219</c:v>
                </c:pt>
                <c:pt idx="218">
                  <c:v>41220</c:v>
                </c:pt>
                <c:pt idx="219">
                  <c:v>41221</c:v>
                </c:pt>
                <c:pt idx="220">
                  <c:v>41222</c:v>
                </c:pt>
                <c:pt idx="221">
                  <c:v>41225</c:v>
                </c:pt>
                <c:pt idx="222">
                  <c:v>41226</c:v>
                </c:pt>
                <c:pt idx="223">
                  <c:v>41227</c:v>
                </c:pt>
                <c:pt idx="224">
                  <c:v>41228</c:v>
                </c:pt>
                <c:pt idx="225">
                  <c:v>41229</c:v>
                </c:pt>
                <c:pt idx="226">
                  <c:v>41232</c:v>
                </c:pt>
                <c:pt idx="227">
                  <c:v>41233</c:v>
                </c:pt>
                <c:pt idx="228">
                  <c:v>41234</c:v>
                </c:pt>
                <c:pt idx="229">
                  <c:v>41235</c:v>
                </c:pt>
                <c:pt idx="230">
                  <c:v>41236</c:v>
                </c:pt>
                <c:pt idx="231">
                  <c:v>41239</c:v>
                </c:pt>
                <c:pt idx="232">
                  <c:v>41240</c:v>
                </c:pt>
                <c:pt idx="233">
                  <c:v>41241</c:v>
                </c:pt>
                <c:pt idx="234">
                  <c:v>41242</c:v>
                </c:pt>
                <c:pt idx="235">
                  <c:v>41243</c:v>
                </c:pt>
                <c:pt idx="236">
                  <c:v>41246</c:v>
                </c:pt>
                <c:pt idx="237">
                  <c:v>41247</c:v>
                </c:pt>
                <c:pt idx="238">
                  <c:v>41248</c:v>
                </c:pt>
                <c:pt idx="239">
                  <c:v>41249</c:v>
                </c:pt>
                <c:pt idx="240">
                  <c:v>41250</c:v>
                </c:pt>
                <c:pt idx="241">
                  <c:v>41253</c:v>
                </c:pt>
                <c:pt idx="242">
                  <c:v>41254</c:v>
                </c:pt>
                <c:pt idx="243">
                  <c:v>41255</c:v>
                </c:pt>
                <c:pt idx="244">
                  <c:v>41256</c:v>
                </c:pt>
                <c:pt idx="245">
                  <c:v>41257</c:v>
                </c:pt>
                <c:pt idx="246">
                  <c:v>41260</c:v>
                </c:pt>
                <c:pt idx="247">
                  <c:v>41261</c:v>
                </c:pt>
                <c:pt idx="248">
                  <c:v>41262</c:v>
                </c:pt>
                <c:pt idx="249">
                  <c:v>41263</c:v>
                </c:pt>
                <c:pt idx="250">
                  <c:v>41264</c:v>
                </c:pt>
                <c:pt idx="251">
                  <c:v>41267</c:v>
                </c:pt>
                <c:pt idx="252">
                  <c:v>41268</c:v>
                </c:pt>
                <c:pt idx="253">
                  <c:v>41269</c:v>
                </c:pt>
                <c:pt idx="254">
                  <c:v>41270</c:v>
                </c:pt>
                <c:pt idx="255">
                  <c:v>41271</c:v>
                </c:pt>
                <c:pt idx="256">
                  <c:v>41282</c:v>
                </c:pt>
                <c:pt idx="257">
                  <c:v>41283</c:v>
                </c:pt>
                <c:pt idx="258">
                  <c:v>41284</c:v>
                </c:pt>
                <c:pt idx="259">
                  <c:v>41285</c:v>
                </c:pt>
                <c:pt idx="260">
                  <c:v>41288</c:v>
                </c:pt>
                <c:pt idx="261">
                  <c:v>41289</c:v>
                </c:pt>
                <c:pt idx="262">
                  <c:v>41290</c:v>
                </c:pt>
                <c:pt idx="263">
                  <c:v>41291</c:v>
                </c:pt>
                <c:pt idx="264">
                  <c:v>41292</c:v>
                </c:pt>
                <c:pt idx="265">
                  <c:v>41295</c:v>
                </c:pt>
                <c:pt idx="266">
                  <c:v>41296</c:v>
                </c:pt>
                <c:pt idx="267">
                  <c:v>41297</c:v>
                </c:pt>
                <c:pt idx="268">
                  <c:v>41298</c:v>
                </c:pt>
                <c:pt idx="269">
                  <c:v>41299</c:v>
                </c:pt>
                <c:pt idx="270">
                  <c:v>41302</c:v>
                </c:pt>
                <c:pt idx="271">
                  <c:v>41303</c:v>
                </c:pt>
                <c:pt idx="272">
                  <c:v>41304</c:v>
                </c:pt>
                <c:pt idx="273">
                  <c:v>41305</c:v>
                </c:pt>
                <c:pt idx="274">
                  <c:v>41306</c:v>
                </c:pt>
                <c:pt idx="275">
                  <c:v>41309</c:v>
                </c:pt>
                <c:pt idx="276">
                  <c:v>41310</c:v>
                </c:pt>
                <c:pt idx="277">
                  <c:v>41311</c:v>
                </c:pt>
                <c:pt idx="278">
                  <c:v>41312</c:v>
                </c:pt>
                <c:pt idx="279">
                  <c:v>41313</c:v>
                </c:pt>
                <c:pt idx="280">
                  <c:v>41316</c:v>
                </c:pt>
                <c:pt idx="281">
                  <c:v>41317</c:v>
                </c:pt>
                <c:pt idx="282">
                  <c:v>41318</c:v>
                </c:pt>
                <c:pt idx="283">
                  <c:v>41319</c:v>
                </c:pt>
                <c:pt idx="284">
                  <c:v>41320</c:v>
                </c:pt>
                <c:pt idx="285">
                  <c:v>41323</c:v>
                </c:pt>
                <c:pt idx="286">
                  <c:v>41324</c:v>
                </c:pt>
                <c:pt idx="287">
                  <c:v>41325</c:v>
                </c:pt>
                <c:pt idx="288">
                  <c:v>41326</c:v>
                </c:pt>
                <c:pt idx="289">
                  <c:v>41327</c:v>
                </c:pt>
                <c:pt idx="290">
                  <c:v>41330</c:v>
                </c:pt>
                <c:pt idx="291">
                  <c:v>41331</c:v>
                </c:pt>
                <c:pt idx="292">
                  <c:v>41332</c:v>
                </c:pt>
                <c:pt idx="293">
                  <c:v>41333</c:v>
                </c:pt>
                <c:pt idx="294">
                  <c:v>41334</c:v>
                </c:pt>
                <c:pt idx="295">
                  <c:v>41337</c:v>
                </c:pt>
                <c:pt idx="296">
                  <c:v>41338</c:v>
                </c:pt>
                <c:pt idx="297">
                  <c:v>41339</c:v>
                </c:pt>
                <c:pt idx="298">
                  <c:v>41340</c:v>
                </c:pt>
                <c:pt idx="299">
                  <c:v>41344</c:v>
                </c:pt>
                <c:pt idx="300">
                  <c:v>41345</c:v>
                </c:pt>
                <c:pt idx="301">
                  <c:v>41346</c:v>
                </c:pt>
                <c:pt idx="302">
                  <c:v>41347</c:v>
                </c:pt>
                <c:pt idx="303">
                  <c:v>41348</c:v>
                </c:pt>
                <c:pt idx="304">
                  <c:v>41351</c:v>
                </c:pt>
                <c:pt idx="305">
                  <c:v>41352</c:v>
                </c:pt>
                <c:pt idx="306">
                  <c:v>41353</c:v>
                </c:pt>
                <c:pt idx="307">
                  <c:v>41354</c:v>
                </c:pt>
                <c:pt idx="308">
                  <c:v>41355</c:v>
                </c:pt>
                <c:pt idx="309">
                  <c:v>41358</c:v>
                </c:pt>
                <c:pt idx="310">
                  <c:v>41359</c:v>
                </c:pt>
                <c:pt idx="311">
                  <c:v>41360</c:v>
                </c:pt>
                <c:pt idx="312">
                  <c:v>41361</c:v>
                </c:pt>
                <c:pt idx="313">
                  <c:v>41362</c:v>
                </c:pt>
                <c:pt idx="314">
                  <c:v>41365</c:v>
                </c:pt>
                <c:pt idx="315">
                  <c:v>41366</c:v>
                </c:pt>
                <c:pt idx="316">
                  <c:v>41367</c:v>
                </c:pt>
                <c:pt idx="317">
                  <c:v>41368</c:v>
                </c:pt>
                <c:pt idx="318">
                  <c:v>41369</c:v>
                </c:pt>
                <c:pt idx="319">
                  <c:v>41372</c:v>
                </c:pt>
                <c:pt idx="320">
                  <c:v>41373</c:v>
                </c:pt>
                <c:pt idx="321">
                  <c:v>41374</c:v>
                </c:pt>
                <c:pt idx="322">
                  <c:v>41375</c:v>
                </c:pt>
                <c:pt idx="323">
                  <c:v>41376</c:v>
                </c:pt>
                <c:pt idx="324">
                  <c:v>41379</c:v>
                </c:pt>
                <c:pt idx="325">
                  <c:v>41380</c:v>
                </c:pt>
                <c:pt idx="326">
                  <c:v>41381</c:v>
                </c:pt>
                <c:pt idx="327">
                  <c:v>41382</c:v>
                </c:pt>
                <c:pt idx="328">
                  <c:v>41383</c:v>
                </c:pt>
                <c:pt idx="329">
                  <c:v>41386</c:v>
                </c:pt>
                <c:pt idx="330">
                  <c:v>41387</c:v>
                </c:pt>
                <c:pt idx="331">
                  <c:v>41388</c:v>
                </c:pt>
                <c:pt idx="332">
                  <c:v>41389</c:v>
                </c:pt>
                <c:pt idx="333">
                  <c:v>41390</c:v>
                </c:pt>
                <c:pt idx="334">
                  <c:v>41393</c:v>
                </c:pt>
                <c:pt idx="335">
                  <c:v>41394</c:v>
                </c:pt>
                <c:pt idx="336">
                  <c:v>41396</c:v>
                </c:pt>
                <c:pt idx="337">
                  <c:v>41397</c:v>
                </c:pt>
                <c:pt idx="338">
                  <c:v>41400</c:v>
                </c:pt>
                <c:pt idx="339">
                  <c:v>41401</c:v>
                </c:pt>
                <c:pt idx="340">
                  <c:v>41402</c:v>
                </c:pt>
                <c:pt idx="341">
                  <c:v>41404</c:v>
                </c:pt>
                <c:pt idx="342">
                  <c:v>41407</c:v>
                </c:pt>
                <c:pt idx="343">
                  <c:v>41408</c:v>
                </c:pt>
                <c:pt idx="344">
                  <c:v>41409</c:v>
                </c:pt>
                <c:pt idx="345">
                  <c:v>41410</c:v>
                </c:pt>
                <c:pt idx="346">
                  <c:v>41411</c:v>
                </c:pt>
                <c:pt idx="347">
                  <c:v>41414</c:v>
                </c:pt>
                <c:pt idx="348">
                  <c:v>41415</c:v>
                </c:pt>
                <c:pt idx="349">
                  <c:v>41416</c:v>
                </c:pt>
                <c:pt idx="350">
                  <c:v>41417</c:v>
                </c:pt>
                <c:pt idx="351">
                  <c:v>41418</c:v>
                </c:pt>
                <c:pt idx="352">
                  <c:v>41421</c:v>
                </c:pt>
                <c:pt idx="353">
                  <c:v>41422</c:v>
                </c:pt>
                <c:pt idx="354">
                  <c:v>41423</c:v>
                </c:pt>
                <c:pt idx="355">
                  <c:v>41424</c:v>
                </c:pt>
                <c:pt idx="356">
                  <c:v>41425</c:v>
                </c:pt>
                <c:pt idx="357">
                  <c:v>41428</c:v>
                </c:pt>
                <c:pt idx="358">
                  <c:v>41429</c:v>
                </c:pt>
                <c:pt idx="359">
                  <c:v>41430</c:v>
                </c:pt>
                <c:pt idx="360">
                  <c:v>41431</c:v>
                </c:pt>
                <c:pt idx="361">
                  <c:v>41432</c:v>
                </c:pt>
                <c:pt idx="362">
                  <c:v>41435</c:v>
                </c:pt>
                <c:pt idx="363">
                  <c:v>41436</c:v>
                </c:pt>
                <c:pt idx="364">
                  <c:v>41438</c:v>
                </c:pt>
                <c:pt idx="365">
                  <c:v>41439</c:v>
                </c:pt>
                <c:pt idx="366">
                  <c:v>41442</c:v>
                </c:pt>
                <c:pt idx="367">
                  <c:v>41443</c:v>
                </c:pt>
                <c:pt idx="368">
                  <c:v>41444</c:v>
                </c:pt>
                <c:pt idx="369">
                  <c:v>41445</c:v>
                </c:pt>
                <c:pt idx="370">
                  <c:v>41446</c:v>
                </c:pt>
                <c:pt idx="371">
                  <c:v>41449</c:v>
                </c:pt>
                <c:pt idx="372">
                  <c:v>41450</c:v>
                </c:pt>
                <c:pt idx="373">
                  <c:v>41451</c:v>
                </c:pt>
                <c:pt idx="374">
                  <c:v>41452</c:v>
                </c:pt>
                <c:pt idx="375">
                  <c:v>41453</c:v>
                </c:pt>
                <c:pt idx="376">
                  <c:v>41456</c:v>
                </c:pt>
                <c:pt idx="377">
                  <c:v>41457</c:v>
                </c:pt>
                <c:pt idx="378">
                  <c:v>41458</c:v>
                </c:pt>
                <c:pt idx="379">
                  <c:v>41459</c:v>
                </c:pt>
                <c:pt idx="380">
                  <c:v>41460</c:v>
                </c:pt>
                <c:pt idx="381">
                  <c:v>41463</c:v>
                </c:pt>
                <c:pt idx="382">
                  <c:v>41464</c:v>
                </c:pt>
                <c:pt idx="383">
                  <c:v>41465</c:v>
                </c:pt>
                <c:pt idx="384">
                  <c:v>41466</c:v>
                </c:pt>
                <c:pt idx="385">
                  <c:v>41467</c:v>
                </c:pt>
                <c:pt idx="386">
                  <c:v>41470</c:v>
                </c:pt>
                <c:pt idx="387">
                  <c:v>41471</c:v>
                </c:pt>
                <c:pt idx="388">
                  <c:v>41472</c:v>
                </c:pt>
                <c:pt idx="389">
                  <c:v>41473</c:v>
                </c:pt>
                <c:pt idx="390">
                  <c:v>41474</c:v>
                </c:pt>
                <c:pt idx="391">
                  <c:v>41477</c:v>
                </c:pt>
                <c:pt idx="392">
                  <c:v>41478</c:v>
                </c:pt>
                <c:pt idx="393">
                  <c:v>41479</c:v>
                </c:pt>
                <c:pt idx="394">
                  <c:v>41480</c:v>
                </c:pt>
                <c:pt idx="395">
                  <c:v>41481</c:v>
                </c:pt>
                <c:pt idx="396">
                  <c:v>41484</c:v>
                </c:pt>
                <c:pt idx="397">
                  <c:v>41485</c:v>
                </c:pt>
                <c:pt idx="398">
                  <c:v>41486</c:v>
                </c:pt>
                <c:pt idx="399">
                  <c:v>41487</c:v>
                </c:pt>
                <c:pt idx="400">
                  <c:v>41488</c:v>
                </c:pt>
                <c:pt idx="401">
                  <c:v>41491</c:v>
                </c:pt>
                <c:pt idx="402">
                  <c:v>41492</c:v>
                </c:pt>
                <c:pt idx="403">
                  <c:v>41493</c:v>
                </c:pt>
                <c:pt idx="404">
                  <c:v>41494</c:v>
                </c:pt>
                <c:pt idx="405">
                  <c:v>41495</c:v>
                </c:pt>
                <c:pt idx="406">
                  <c:v>41498</c:v>
                </c:pt>
                <c:pt idx="407">
                  <c:v>41499</c:v>
                </c:pt>
                <c:pt idx="408">
                  <c:v>41500</c:v>
                </c:pt>
                <c:pt idx="409">
                  <c:v>41501</c:v>
                </c:pt>
                <c:pt idx="410">
                  <c:v>41502</c:v>
                </c:pt>
                <c:pt idx="411">
                  <c:v>41505</c:v>
                </c:pt>
                <c:pt idx="412">
                  <c:v>41506</c:v>
                </c:pt>
                <c:pt idx="413">
                  <c:v>41507</c:v>
                </c:pt>
                <c:pt idx="414">
                  <c:v>41508</c:v>
                </c:pt>
                <c:pt idx="415">
                  <c:v>41509</c:v>
                </c:pt>
                <c:pt idx="416">
                  <c:v>41512</c:v>
                </c:pt>
                <c:pt idx="417">
                  <c:v>41513</c:v>
                </c:pt>
                <c:pt idx="418">
                  <c:v>41514</c:v>
                </c:pt>
                <c:pt idx="419">
                  <c:v>41515</c:v>
                </c:pt>
                <c:pt idx="420">
                  <c:v>41516</c:v>
                </c:pt>
                <c:pt idx="421">
                  <c:v>41519</c:v>
                </c:pt>
                <c:pt idx="422">
                  <c:v>41520</c:v>
                </c:pt>
                <c:pt idx="423">
                  <c:v>41521</c:v>
                </c:pt>
                <c:pt idx="424">
                  <c:v>41522</c:v>
                </c:pt>
                <c:pt idx="425">
                  <c:v>41523</c:v>
                </c:pt>
                <c:pt idx="426">
                  <c:v>41526</c:v>
                </c:pt>
                <c:pt idx="427">
                  <c:v>41527</c:v>
                </c:pt>
                <c:pt idx="428">
                  <c:v>41528</c:v>
                </c:pt>
                <c:pt idx="429">
                  <c:v>41529</c:v>
                </c:pt>
                <c:pt idx="430">
                  <c:v>41530</c:v>
                </c:pt>
                <c:pt idx="431">
                  <c:v>41533</c:v>
                </c:pt>
                <c:pt idx="432">
                  <c:v>41534</c:v>
                </c:pt>
                <c:pt idx="433">
                  <c:v>41535</c:v>
                </c:pt>
                <c:pt idx="434">
                  <c:v>41536</c:v>
                </c:pt>
                <c:pt idx="435">
                  <c:v>41537</c:v>
                </c:pt>
                <c:pt idx="436">
                  <c:v>41540</c:v>
                </c:pt>
                <c:pt idx="437">
                  <c:v>41541</c:v>
                </c:pt>
                <c:pt idx="438">
                  <c:v>41542</c:v>
                </c:pt>
                <c:pt idx="439">
                  <c:v>41543</c:v>
                </c:pt>
                <c:pt idx="440">
                  <c:v>41544</c:v>
                </c:pt>
                <c:pt idx="441">
                  <c:v>41547</c:v>
                </c:pt>
                <c:pt idx="442">
                  <c:v>41548</c:v>
                </c:pt>
                <c:pt idx="443">
                  <c:v>41549</c:v>
                </c:pt>
                <c:pt idx="444">
                  <c:v>41550</c:v>
                </c:pt>
                <c:pt idx="445">
                  <c:v>41551</c:v>
                </c:pt>
                <c:pt idx="446">
                  <c:v>41554</c:v>
                </c:pt>
                <c:pt idx="447">
                  <c:v>41555</c:v>
                </c:pt>
                <c:pt idx="448">
                  <c:v>41556</c:v>
                </c:pt>
                <c:pt idx="449">
                  <c:v>41557</c:v>
                </c:pt>
                <c:pt idx="450">
                  <c:v>41558</c:v>
                </c:pt>
                <c:pt idx="451">
                  <c:v>41561</c:v>
                </c:pt>
                <c:pt idx="452">
                  <c:v>41562</c:v>
                </c:pt>
                <c:pt idx="453">
                  <c:v>41563</c:v>
                </c:pt>
                <c:pt idx="454">
                  <c:v>41564</c:v>
                </c:pt>
                <c:pt idx="455">
                  <c:v>41565</c:v>
                </c:pt>
                <c:pt idx="456">
                  <c:v>41568</c:v>
                </c:pt>
                <c:pt idx="457">
                  <c:v>41569</c:v>
                </c:pt>
                <c:pt idx="458">
                  <c:v>41570</c:v>
                </c:pt>
                <c:pt idx="459">
                  <c:v>41571</c:v>
                </c:pt>
                <c:pt idx="460">
                  <c:v>41572</c:v>
                </c:pt>
                <c:pt idx="461">
                  <c:v>41575</c:v>
                </c:pt>
                <c:pt idx="462">
                  <c:v>41576</c:v>
                </c:pt>
                <c:pt idx="463">
                  <c:v>41577</c:v>
                </c:pt>
                <c:pt idx="464">
                  <c:v>41578</c:v>
                </c:pt>
                <c:pt idx="465">
                  <c:v>41579</c:v>
                </c:pt>
                <c:pt idx="466">
                  <c:v>41583</c:v>
                </c:pt>
                <c:pt idx="467">
                  <c:v>41584</c:v>
                </c:pt>
                <c:pt idx="468">
                  <c:v>41585</c:v>
                </c:pt>
                <c:pt idx="469">
                  <c:v>41586</c:v>
                </c:pt>
                <c:pt idx="470">
                  <c:v>41589</c:v>
                </c:pt>
                <c:pt idx="471">
                  <c:v>41590</c:v>
                </c:pt>
                <c:pt idx="472">
                  <c:v>41591</c:v>
                </c:pt>
                <c:pt idx="473">
                  <c:v>41592</c:v>
                </c:pt>
                <c:pt idx="474">
                  <c:v>41593</c:v>
                </c:pt>
                <c:pt idx="475">
                  <c:v>41596</c:v>
                </c:pt>
                <c:pt idx="476">
                  <c:v>41597</c:v>
                </c:pt>
                <c:pt idx="477">
                  <c:v>41598</c:v>
                </c:pt>
                <c:pt idx="478">
                  <c:v>41599</c:v>
                </c:pt>
                <c:pt idx="479">
                  <c:v>41600</c:v>
                </c:pt>
                <c:pt idx="480">
                  <c:v>41603</c:v>
                </c:pt>
                <c:pt idx="481">
                  <c:v>41604</c:v>
                </c:pt>
                <c:pt idx="482">
                  <c:v>41605</c:v>
                </c:pt>
                <c:pt idx="483">
                  <c:v>41606</c:v>
                </c:pt>
                <c:pt idx="484">
                  <c:v>41607</c:v>
                </c:pt>
                <c:pt idx="485">
                  <c:v>41610</c:v>
                </c:pt>
                <c:pt idx="486">
                  <c:v>41611</c:v>
                </c:pt>
                <c:pt idx="487">
                  <c:v>41612</c:v>
                </c:pt>
                <c:pt idx="488">
                  <c:v>41613</c:v>
                </c:pt>
                <c:pt idx="489">
                  <c:v>41614</c:v>
                </c:pt>
                <c:pt idx="490">
                  <c:v>41617</c:v>
                </c:pt>
                <c:pt idx="491">
                  <c:v>41618</c:v>
                </c:pt>
                <c:pt idx="492">
                  <c:v>41619</c:v>
                </c:pt>
                <c:pt idx="493">
                  <c:v>41620</c:v>
                </c:pt>
                <c:pt idx="494">
                  <c:v>41621</c:v>
                </c:pt>
                <c:pt idx="495">
                  <c:v>41624</c:v>
                </c:pt>
                <c:pt idx="496">
                  <c:v>41625</c:v>
                </c:pt>
                <c:pt idx="497">
                  <c:v>41626</c:v>
                </c:pt>
                <c:pt idx="498">
                  <c:v>41627</c:v>
                </c:pt>
                <c:pt idx="499">
                  <c:v>41628</c:v>
                </c:pt>
                <c:pt idx="500">
                  <c:v>41631</c:v>
                </c:pt>
                <c:pt idx="501">
                  <c:v>41632</c:v>
                </c:pt>
                <c:pt idx="502">
                  <c:v>41633</c:v>
                </c:pt>
                <c:pt idx="503">
                  <c:v>41634</c:v>
                </c:pt>
                <c:pt idx="504">
                  <c:v>41635</c:v>
                </c:pt>
                <c:pt idx="505">
                  <c:v>41638</c:v>
                </c:pt>
                <c:pt idx="506">
                  <c:v>41645</c:v>
                </c:pt>
                <c:pt idx="507">
                  <c:v>41647</c:v>
                </c:pt>
                <c:pt idx="508">
                  <c:v>41648</c:v>
                </c:pt>
                <c:pt idx="509">
                  <c:v>41649</c:v>
                </c:pt>
                <c:pt idx="510">
                  <c:v>41652</c:v>
                </c:pt>
                <c:pt idx="511">
                  <c:v>41653</c:v>
                </c:pt>
                <c:pt idx="512">
                  <c:v>41654</c:v>
                </c:pt>
                <c:pt idx="513">
                  <c:v>41655</c:v>
                </c:pt>
                <c:pt idx="514">
                  <c:v>41656</c:v>
                </c:pt>
                <c:pt idx="515">
                  <c:v>41659</c:v>
                </c:pt>
                <c:pt idx="516">
                  <c:v>41660</c:v>
                </c:pt>
                <c:pt idx="517">
                  <c:v>41661</c:v>
                </c:pt>
                <c:pt idx="518">
                  <c:v>41662</c:v>
                </c:pt>
                <c:pt idx="519">
                  <c:v>41663</c:v>
                </c:pt>
                <c:pt idx="520">
                  <c:v>41666</c:v>
                </c:pt>
                <c:pt idx="521">
                  <c:v>41667</c:v>
                </c:pt>
                <c:pt idx="522">
                  <c:v>41668</c:v>
                </c:pt>
                <c:pt idx="523">
                  <c:v>41669</c:v>
                </c:pt>
                <c:pt idx="524">
                  <c:v>41670</c:v>
                </c:pt>
                <c:pt idx="525">
                  <c:v>41673</c:v>
                </c:pt>
                <c:pt idx="526">
                  <c:v>41674</c:v>
                </c:pt>
                <c:pt idx="527">
                  <c:v>41675</c:v>
                </c:pt>
                <c:pt idx="528">
                  <c:v>41676</c:v>
                </c:pt>
                <c:pt idx="529">
                  <c:v>41677</c:v>
                </c:pt>
                <c:pt idx="530">
                  <c:v>41680</c:v>
                </c:pt>
                <c:pt idx="531">
                  <c:v>41681</c:v>
                </c:pt>
                <c:pt idx="532">
                  <c:v>41682</c:v>
                </c:pt>
                <c:pt idx="533">
                  <c:v>41683</c:v>
                </c:pt>
                <c:pt idx="534">
                  <c:v>41684</c:v>
                </c:pt>
                <c:pt idx="535">
                  <c:v>41687</c:v>
                </c:pt>
                <c:pt idx="536">
                  <c:v>41688</c:v>
                </c:pt>
                <c:pt idx="537">
                  <c:v>41689</c:v>
                </c:pt>
                <c:pt idx="538">
                  <c:v>41690</c:v>
                </c:pt>
                <c:pt idx="539">
                  <c:v>41691</c:v>
                </c:pt>
                <c:pt idx="540">
                  <c:v>41694</c:v>
                </c:pt>
                <c:pt idx="541">
                  <c:v>41695</c:v>
                </c:pt>
                <c:pt idx="542">
                  <c:v>41696</c:v>
                </c:pt>
                <c:pt idx="543">
                  <c:v>41697</c:v>
                </c:pt>
                <c:pt idx="544">
                  <c:v>41698</c:v>
                </c:pt>
                <c:pt idx="545">
                  <c:v>41701</c:v>
                </c:pt>
                <c:pt idx="546">
                  <c:v>41702</c:v>
                </c:pt>
                <c:pt idx="547">
                  <c:v>41703</c:v>
                </c:pt>
                <c:pt idx="548">
                  <c:v>41704</c:v>
                </c:pt>
                <c:pt idx="549">
                  <c:v>41705</c:v>
                </c:pt>
                <c:pt idx="550">
                  <c:v>41709</c:v>
                </c:pt>
                <c:pt idx="551">
                  <c:v>41710</c:v>
                </c:pt>
                <c:pt idx="552">
                  <c:v>41711</c:v>
                </c:pt>
                <c:pt idx="553">
                  <c:v>41712</c:v>
                </c:pt>
                <c:pt idx="554">
                  <c:v>41715</c:v>
                </c:pt>
                <c:pt idx="555">
                  <c:v>41716</c:v>
                </c:pt>
                <c:pt idx="556">
                  <c:v>41717</c:v>
                </c:pt>
                <c:pt idx="557">
                  <c:v>41718</c:v>
                </c:pt>
                <c:pt idx="558">
                  <c:v>41719</c:v>
                </c:pt>
                <c:pt idx="559">
                  <c:v>41722</c:v>
                </c:pt>
                <c:pt idx="560">
                  <c:v>41723</c:v>
                </c:pt>
                <c:pt idx="561">
                  <c:v>41724</c:v>
                </c:pt>
                <c:pt idx="562">
                  <c:v>41725</c:v>
                </c:pt>
                <c:pt idx="563">
                  <c:v>41726</c:v>
                </c:pt>
                <c:pt idx="564">
                  <c:v>41729</c:v>
                </c:pt>
                <c:pt idx="565">
                  <c:v>41730</c:v>
                </c:pt>
                <c:pt idx="566">
                  <c:v>41731</c:v>
                </c:pt>
                <c:pt idx="567">
                  <c:v>41732</c:v>
                </c:pt>
                <c:pt idx="568">
                  <c:v>41733</c:v>
                </c:pt>
                <c:pt idx="569">
                  <c:v>41736</c:v>
                </c:pt>
                <c:pt idx="570">
                  <c:v>41737</c:v>
                </c:pt>
                <c:pt idx="571">
                  <c:v>41738</c:v>
                </c:pt>
                <c:pt idx="572">
                  <c:v>41739</c:v>
                </c:pt>
                <c:pt idx="573">
                  <c:v>41740</c:v>
                </c:pt>
                <c:pt idx="574">
                  <c:v>41743</c:v>
                </c:pt>
                <c:pt idx="575">
                  <c:v>41744</c:v>
                </c:pt>
                <c:pt idx="576">
                  <c:v>41745</c:v>
                </c:pt>
                <c:pt idx="577">
                  <c:v>41746</c:v>
                </c:pt>
                <c:pt idx="578">
                  <c:v>41747</c:v>
                </c:pt>
                <c:pt idx="579">
                  <c:v>41750</c:v>
                </c:pt>
                <c:pt idx="580">
                  <c:v>41751</c:v>
                </c:pt>
                <c:pt idx="581">
                  <c:v>41752</c:v>
                </c:pt>
                <c:pt idx="582">
                  <c:v>41753</c:v>
                </c:pt>
                <c:pt idx="583">
                  <c:v>41754</c:v>
                </c:pt>
                <c:pt idx="584">
                  <c:v>41757</c:v>
                </c:pt>
                <c:pt idx="585">
                  <c:v>41758</c:v>
                </c:pt>
                <c:pt idx="586">
                  <c:v>41759</c:v>
                </c:pt>
                <c:pt idx="587">
                  <c:v>41761</c:v>
                </c:pt>
                <c:pt idx="588">
                  <c:v>41764</c:v>
                </c:pt>
                <c:pt idx="589">
                  <c:v>41765</c:v>
                </c:pt>
                <c:pt idx="590">
                  <c:v>41766</c:v>
                </c:pt>
                <c:pt idx="591">
                  <c:v>41767</c:v>
                </c:pt>
                <c:pt idx="592">
                  <c:v>41771</c:v>
                </c:pt>
                <c:pt idx="593">
                  <c:v>41772</c:v>
                </c:pt>
                <c:pt idx="594">
                  <c:v>41773</c:v>
                </c:pt>
                <c:pt idx="595">
                  <c:v>41774</c:v>
                </c:pt>
                <c:pt idx="596">
                  <c:v>41775</c:v>
                </c:pt>
                <c:pt idx="597">
                  <c:v>41778</c:v>
                </c:pt>
                <c:pt idx="598">
                  <c:v>41779</c:v>
                </c:pt>
                <c:pt idx="599">
                  <c:v>41780</c:v>
                </c:pt>
                <c:pt idx="600">
                  <c:v>41781</c:v>
                </c:pt>
                <c:pt idx="601">
                  <c:v>41782</c:v>
                </c:pt>
                <c:pt idx="602">
                  <c:v>41785</c:v>
                </c:pt>
                <c:pt idx="603">
                  <c:v>41786</c:v>
                </c:pt>
                <c:pt idx="604">
                  <c:v>41787</c:v>
                </c:pt>
                <c:pt idx="605">
                  <c:v>41788</c:v>
                </c:pt>
                <c:pt idx="606">
                  <c:v>41789</c:v>
                </c:pt>
                <c:pt idx="607">
                  <c:v>41792</c:v>
                </c:pt>
                <c:pt idx="608">
                  <c:v>41793</c:v>
                </c:pt>
                <c:pt idx="609">
                  <c:v>41794</c:v>
                </c:pt>
                <c:pt idx="610">
                  <c:v>41795</c:v>
                </c:pt>
                <c:pt idx="611">
                  <c:v>41796</c:v>
                </c:pt>
                <c:pt idx="612">
                  <c:v>41799</c:v>
                </c:pt>
                <c:pt idx="613">
                  <c:v>41800</c:v>
                </c:pt>
                <c:pt idx="614">
                  <c:v>41801</c:v>
                </c:pt>
                <c:pt idx="615">
                  <c:v>41806</c:v>
                </c:pt>
                <c:pt idx="616">
                  <c:v>41807</c:v>
                </c:pt>
                <c:pt idx="617">
                  <c:v>41808</c:v>
                </c:pt>
                <c:pt idx="618">
                  <c:v>41809</c:v>
                </c:pt>
                <c:pt idx="619">
                  <c:v>41810</c:v>
                </c:pt>
                <c:pt idx="620">
                  <c:v>41813</c:v>
                </c:pt>
                <c:pt idx="621">
                  <c:v>41814</c:v>
                </c:pt>
                <c:pt idx="622">
                  <c:v>41815</c:v>
                </c:pt>
                <c:pt idx="623">
                  <c:v>41816</c:v>
                </c:pt>
                <c:pt idx="624">
                  <c:v>41817</c:v>
                </c:pt>
                <c:pt idx="625">
                  <c:v>41820</c:v>
                </c:pt>
                <c:pt idx="626">
                  <c:v>41821</c:v>
                </c:pt>
                <c:pt idx="627">
                  <c:v>41822</c:v>
                </c:pt>
                <c:pt idx="628">
                  <c:v>41823</c:v>
                </c:pt>
                <c:pt idx="629">
                  <c:v>41824</c:v>
                </c:pt>
                <c:pt idx="630">
                  <c:v>41827</c:v>
                </c:pt>
                <c:pt idx="631">
                  <c:v>41828</c:v>
                </c:pt>
                <c:pt idx="632">
                  <c:v>41829</c:v>
                </c:pt>
                <c:pt idx="633">
                  <c:v>41830</c:v>
                </c:pt>
                <c:pt idx="634">
                  <c:v>41831</c:v>
                </c:pt>
                <c:pt idx="635">
                  <c:v>41834</c:v>
                </c:pt>
                <c:pt idx="636">
                  <c:v>41835</c:v>
                </c:pt>
                <c:pt idx="637">
                  <c:v>41836</c:v>
                </c:pt>
                <c:pt idx="638">
                  <c:v>41837</c:v>
                </c:pt>
                <c:pt idx="639">
                  <c:v>41838</c:v>
                </c:pt>
                <c:pt idx="640">
                  <c:v>41841</c:v>
                </c:pt>
                <c:pt idx="641">
                  <c:v>41842</c:v>
                </c:pt>
                <c:pt idx="642">
                  <c:v>41843</c:v>
                </c:pt>
                <c:pt idx="643">
                  <c:v>41844</c:v>
                </c:pt>
                <c:pt idx="644">
                  <c:v>41845</c:v>
                </c:pt>
                <c:pt idx="645">
                  <c:v>41848</c:v>
                </c:pt>
                <c:pt idx="646">
                  <c:v>41849</c:v>
                </c:pt>
                <c:pt idx="647">
                  <c:v>41850</c:v>
                </c:pt>
                <c:pt idx="648">
                  <c:v>41851</c:v>
                </c:pt>
                <c:pt idx="649">
                  <c:v>41852</c:v>
                </c:pt>
                <c:pt idx="650">
                  <c:v>41855</c:v>
                </c:pt>
                <c:pt idx="651">
                  <c:v>41856</c:v>
                </c:pt>
                <c:pt idx="652">
                  <c:v>41857</c:v>
                </c:pt>
                <c:pt idx="653">
                  <c:v>41858</c:v>
                </c:pt>
                <c:pt idx="654">
                  <c:v>41859</c:v>
                </c:pt>
                <c:pt idx="655">
                  <c:v>41862</c:v>
                </c:pt>
                <c:pt idx="656">
                  <c:v>41863</c:v>
                </c:pt>
                <c:pt idx="657">
                  <c:v>41864</c:v>
                </c:pt>
                <c:pt idx="658">
                  <c:v>41865</c:v>
                </c:pt>
                <c:pt idx="659">
                  <c:v>41866</c:v>
                </c:pt>
                <c:pt idx="660">
                  <c:v>41869</c:v>
                </c:pt>
                <c:pt idx="661">
                  <c:v>41870</c:v>
                </c:pt>
                <c:pt idx="662">
                  <c:v>41871</c:v>
                </c:pt>
                <c:pt idx="663">
                  <c:v>41872</c:v>
                </c:pt>
                <c:pt idx="664">
                  <c:v>41873</c:v>
                </c:pt>
                <c:pt idx="665">
                  <c:v>41876</c:v>
                </c:pt>
                <c:pt idx="666">
                  <c:v>41877</c:v>
                </c:pt>
                <c:pt idx="667">
                  <c:v>41878</c:v>
                </c:pt>
                <c:pt idx="668">
                  <c:v>41879</c:v>
                </c:pt>
                <c:pt idx="669">
                  <c:v>41880</c:v>
                </c:pt>
                <c:pt idx="670">
                  <c:v>41883</c:v>
                </c:pt>
                <c:pt idx="671">
                  <c:v>41884</c:v>
                </c:pt>
                <c:pt idx="672">
                  <c:v>41885</c:v>
                </c:pt>
                <c:pt idx="673">
                  <c:v>41886</c:v>
                </c:pt>
                <c:pt idx="674">
                  <c:v>41887</c:v>
                </c:pt>
                <c:pt idx="675">
                  <c:v>41890</c:v>
                </c:pt>
                <c:pt idx="676">
                  <c:v>41891</c:v>
                </c:pt>
                <c:pt idx="677">
                  <c:v>41892</c:v>
                </c:pt>
                <c:pt idx="678">
                  <c:v>41893</c:v>
                </c:pt>
                <c:pt idx="679">
                  <c:v>41894</c:v>
                </c:pt>
                <c:pt idx="680">
                  <c:v>41897</c:v>
                </c:pt>
                <c:pt idx="681">
                  <c:v>41898</c:v>
                </c:pt>
                <c:pt idx="682">
                  <c:v>41899</c:v>
                </c:pt>
                <c:pt idx="683">
                  <c:v>41900</c:v>
                </c:pt>
                <c:pt idx="684">
                  <c:v>41901</c:v>
                </c:pt>
                <c:pt idx="685">
                  <c:v>41904</c:v>
                </c:pt>
                <c:pt idx="686">
                  <c:v>41905</c:v>
                </c:pt>
                <c:pt idx="687">
                  <c:v>41906</c:v>
                </c:pt>
                <c:pt idx="688">
                  <c:v>41907</c:v>
                </c:pt>
                <c:pt idx="689">
                  <c:v>41908</c:v>
                </c:pt>
                <c:pt idx="690">
                  <c:v>41911</c:v>
                </c:pt>
                <c:pt idx="691">
                  <c:v>41912</c:v>
                </c:pt>
                <c:pt idx="692">
                  <c:v>41913</c:v>
                </c:pt>
                <c:pt idx="693">
                  <c:v>41914</c:v>
                </c:pt>
                <c:pt idx="694">
                  <c:v>41915</c:v>
                </c:pt>
                <c:pt idx="695">
                  <c:v>41918</c:v>
                </c:pt>
                <c:pt idx="696">
                  <c:v>41919</c:v>
                </c:pt>
                <c:pt idx="697">
                  <c:v>41920</c:v>
                </c:pt>
                <c:pt idx="698">
                  <c:v>41921</c:v>
                </c:pt>
                <c:pt idx="699">
                  <c:v>41922</c:v>
                </c:pt>
                <c:pt idx="700">
                  <c:v>41925</c:v>
                </c:pt>
                <c:pt idx="701">
                  <c:v>41926</c:v>
                </c:pt>
                <c:pt idx="702">
                  <c:v>41927</c:v>
                </c:pt>
                <c:pt idx="703">
                  <c:v>41928</c:v>
                </c:pt>
                <c:pt idx="704">
                  <c:v>41929</c:v>
                </c:pt>
                <c:pt idx="705">
                  <c:v>41932</c:v>
                </c:pt>
                <c:pt idx="706">
                  <c:v>41933</c:v>
                </c:pt>
                <c:pt idx="707">
                  <c:v>41934</c:v>
                </c:pt>
                <c:pt idx="708">
                  <c:v>41935</c:v>
                </c:pt>
                <c:pt idx="709">
                  <c:v>41936</c:v>
                </c:pt>
                <c:pt idx="710">
                  <c:v>41939</c:v>
                </c:pt>
                <c:pt idx="711">
                  <c:v>41940</c:v>
                </c:pt>
                <c:pt idx="712">
                  <c:v>41941</c:v>
                </c:pt>
                <c:pt idx="713">
                  <c:v>41942</c:v>
                </c:pt>
                <c:pt idx="714">
                  <c:v>41943</c:v>
                </c:pt>
                <c:pt idx="715">
                  <c:v>41946</c:v>
                </c:pt>
                <c:pt idx="716">
                  <c:v>41948</c:v>
                </c:pt>
                <c:pt idx="717">
                  <c:v>41949</c:v>
                </c:pt>
                <c:pt idx="718">
                  <c:v>41950</c:v>
                </c:pt>
                <c:pt idx="719">
                  <c:v>41953</c:v>
                </c:pt>
                <c:pt idx="720">
                  <c:v>41954</c:v>
                </c:pt>
                <c:pt idx="721">
                  <c:v>41955</c:v>
                </c:pt>
                <c:pt idx="722">
                  <c:v>41956</c:v>
                </c:pt>
                <c:pt idx="723">
                  <c:v>41957</c:v>
                </c:pt>
                <c:pt idx="724">
                  <c:v>41960</c:v>
                </c:pt>
                <c:pt idx="725">
                  <c:v>41961</c:v>
                </c:pt>
                <c:pt idx="726">
                  <c:v>41962</c:v>
                </c:pt>
                <c:pt idx="727">
                  <c:v>41963</c:v>
                </c:pt>
                <c:pt idx="728">
                  <c:v>41964</c:v>
                </c:pt>
                <c:pt idx="729">
                  <c:v>41967</c:v>
                </c:pt>
                <c:pt idx="730">
                  <c:v>41968</c:v>
                </c:pt>
                <c:pt idx="731">
                  <c:v>41969</c:v>
                </c:pt>
                <c:pt idx="732">
                  <c:v>41970</c:v>
                </c:pt>
                <c:pt idx="733">
                  <c:v>41971</c:v>
                </c:pt>
                <c:pt idx="734">
                  <c:v>41974</c:v>
                </c:pt>
                <c:pt idx="735">
                  <c:v>41975</c:v>
                </c:pt>
                <c:pt idx="736">
                  <c:v>41976</c:v>
                </c:pt>
                <c:pt idx="737">
                  <c:v>41977</c:v>
                </c:pt>
                <c:pt idx="738">
                  <c:v>41978</c:v>
                </c:pt>
                <c:pt idx="739">
                  <c:v>41981</c:v>
                </c:pt>
                <c:pt idx="740">
                  <c:v>41982</c:v>
                </c:pt>
                <c:pt idx="741">
                  <c:v>41983</c:v>
                </c:pt>
                <c:pt idx="742">
                  <c:v>41984</c:v>
                </c:pt>
                <c:pt idx="743">
                  <c:v>41985</c:v>
                </c:pt>
                <c:pt idx="744">
                  <c:v>41988</c:v>
                </c:pt>
                <c:pt idx="745">
                  <c:v>41989</c:v>
                </c:pt>
                <c:pt idx="746">
                  <c:v>41990</c:v>
                </c:pt>
                <c:pt idx="747">
                  <c:v>41991</c:v>
                </c:pt>
                <c:pt idx="748">
                  <c:v>41992</c:v>
                </c:pt>
                <c:pt idx="749">
                  <c:v>41995</c:v>
                </c:pt>
                <c:pt idx="750">
                  <c:v>41996</c:v>
                </c:pt>
                <c:pt idx="751">
                  <c:v>41997</c:v>
                </c:pt>
                <c:pt idx="752">
                  <c:v>41998</c:v>
                </c:pt>
                <c:pt idx="753">
                  <c:v>41999</c:v>
                </c:pt>
                <c:pt idx="754">
                  <c:v>42002</c:v>
                </c:pt>
                <c:pt idx="755">
                  <c:v>42003</c:v>
                </c:pt>
                <c:pt idx="756">
                  <c:v>42009</c:v>
                </c:pt>
                <c:pt idx="757">
                  <c:v>42010</c:v>
                </c:pt>
                <c:pt idx="758">
                  <c:v>42012</c:v>
                </c:pt>
                <c:pt idx="759">
                  <c:v>42013</c:v>
                </c:pt>
                <c:pt idx="760">
                  <c:v>42016</c:v>
                </c:pt>
                <c:pt idx="761">
                  <c:v>42017</c:v>
                </c:pt>
                <c:pt idx="762">
                  <c:v>42018</c:v>
                </c:pt>
                <c:pt idx="763">
                  <c:v>42019</c:v>
                </c:pt>
                <c:pt idx="764">
                  <c:v>42020</c:v>
                </c:pt>
                <c:pt idx="765">
                  <c:v>42023</c:v>
                </c:pt>
                <c:pt idx="766">
                  <c:v>42024</c:v>
                </c:pt>
                <c:pt idx="767">
                  <c:v>42025</c:v>
                </c:pt>
                <c:pt idx="768">
                  <c:v>42026</c:v>
                </c:pt>
                <c:pt idx="769">
                  <c:v>42027</c:v>
                </c:pt>
                <c:pt idx="770">
                  <c:v>42030</c:v>
                </c:pt>
                <c:pt idx="771">
                  <c:v>42031</c:v>
                </c:pt>
                <c:pt idx="772">
                  <c:v>42032</c:v>
                </c:pt>
                <c:pt idx="773">
                  <c:v>42033</c:v>
                </c:pt>
                <c:pt idx="774">
                  <c:v>42034</c:v>
                </c:pt>
                <c:pt idx="775">
                  <c:v>42037</c:v>
                </c:pt>
                <c:pt idx="776">
                  <c:v>42038</c:v>
                </c:pt>
                <c:pt idx="777">
                  <c:v>42039</c:v>
                </c:pt>
                <c:pt idx="778">
                  <c:v>42040</c:v>
                </c:pt>
                <c:pt idx="779">
                  <c:v>42041</c:v>
                </c:pt>
                <c:pt idx="780">
                  <c:v>42044</c:v>
                </c:pt>
                <c:pt idx="781">
                  <c:v>42045</c:v>
                </c:pt>
                <c:pt idx="782">
                  <c:v>42046</c:v>
                </c:pt>
                <c:pt idx="783">
                  <c:v>42047</c:v>
                </c:pt>
                <c:pt idx="784">
                  <c:v>42048</c:v>
                </c:pt>
                <c:pt idx="785">
                  <c:v>42051</c:v>
                </c:pt>
                <c:pt idx="786">
                  <c:v>42052</c:v>
                </c:pt>
                <c:pt idx="787">
                  <c:v>42053</c:v>
                </c:pt>
                <c:pt idx="788">
                  <c:v>42054</c:v>
                </c:pt>
                <c:pt idx="789">
                  <c:v>42055</c:v>
                </c:pt>
                <c:pt idx="790">
                  <c:v>42059</c:v>
                </c:pt>
                <c:pt idx="791">
                  <c:v>42060</c:v>
                </c:pt>
                <c:pt idx="792">
                  <c:v>42061</c:v>
                </c:pt>
                <c:pt idx="793">
                  <c:v>42062</c:v>
                </c:pt>
                <c:pt idx="794">
                  <c:v>42065</c:v>
                </c:pt>
                <c:pt idx="795">
                  <c:v>42066</c:v>
                </c:pt>
                <c:pt idx="796">
                  <c:v>42067</c:v>
                </c:pt>
                <c:pt idx="797">
                  <c:v>42068</c:v>
                </c:pt>
                <c:pt idx="798">
                  <c:v>42069</c:v>
                </c:pt>
                <c:pt idx="799">
                  <c:v>42073</c:v>
                </c:pt>
                <c:pt idx="800">
                  <c:v>42074</c:v>
                </c:pt>
                <c:pt idx="801">
                  <c:v>42075</c:v>
                </c:pt>
                <c:pt idx="802">
                  <c:v>42076</c:v>
                </c:pt>
                <c:pt idx="803">
                  <c:v>42079</c:v>
                </c:pt>
                <c:pt idx="804">
                  <c:v>42080</c:v>
                </c:pt>
                <c:pt idx="805">
                  <c:v>42081</c:v>
                </c:pt>
                <c:pt idx="806">
                  <c:v>42082</c:v>
                </c:pt>
                <c:pt idx="807">
                  <c:v>42083</c:v>
                </c:pt>
                <c:pt idx="808">
                  <c:v>42086</c:v>
                </c:pt>
                <c:pt idx="809">
                  <c:v>42087</c:v>
                </c:pt>
                <c:pt idx="810">
                  <c:v>42088</c:v>
                </c:pt>
                <c:pt idx="811">
                  <c:v>42089</c:v>
                </c:pt>
                <c:pt idx="812">
                  <c:v>42090</c:v>
                </c:pt>
                <c:pt idx="813">
                  <c:v>42093</c:v>
                </c:pt>
                <c:pt idx="814">
                  <c:v>42094</c:v>
                </c:pt>
                <c:pt idx="815">
                  <c:v>42095</c:v>
                </c:pt>
                <c:pt idx="816">
                  <c:v>42096</c:v>
                </c:pt>
                <c:pt idx="817">
                  <c:v>42097</c:v>
                </c:pt>
                <c:pt idx="818">
                  <c:v>42100</c:v>
                </c:pt>
                <c:pt idx="819">
                  <c:v>42101</c:v>
                </c:pt>
                <c:pt idx="820">
                  <c:v>42102</c:v>
                </c:pt>
                <c:pt idx="821">
                  <c:v>42103</c:v>
                </c:pt>
                <c:pt idx="822">
                  <c:v>42104</c:v>
                </c:pt>
                <c:pt idx="823">
                  <c:v>42107</c:v>
                </c:pt>
                <c:pt idx="824">
                  <c:v>42108</c:v>
                </c:pt>
                <c:pt idx="825">
                  <c:v>42109</c:v>
                </c:pt>
                <c:pt idx="826">
                  <c:v>42110</c:v>
                </c:pt>
                <c:pt idx="827">
                  <c:v>42111</c:v>
                </c:pt>
                <c:pt idx="828">
                  <c:v>42114</c:v>
                </c:pt>
                <c:pt idx="829">
                  <c:v>42115</c:v>
                </c:pt>
                <c:pt idx="830">
                  <c:v>42116</c:v>
                </c:pt>
                <c:pt idx="831">
                  <c:v>42117</c:v>
                </c:pt>
                <c:pt idx="832">
                  <c:v>42118</c:v>
                </c:pt>
                <c:pt idx="833">
                  <c:v>42121</c:v>
                </c:pt>
                <c:pt idx="834">
                  <c:v>42122</c:v>
                </c:pt>
                <c:pt idx="835">
                  <c:v>42123</c:v>
                </c:pt>
                <c:pt idx="836">
                  <c:v>42124</c:v>
                </c:pt>
                <c:pt idx="837">
                  <c:v>42129</c:v>
                </c:pt>
                <c:pt idx="838">
                  <c:v>42130</c:v>
                </c:pt>
                <c:pt idx="839">
                  <c:v>42131</c:v>
                </c:pt>
                <c:pt idx="840">
                  <c:v>42132</c:v>
                </c:pt>
                <c:pt idx="841">
                  <c:v>42136</c:v>
                </c:pt>
                <c:pt idx="842">
                  <c:v>42137</c:v>
                </c:pt>
                <c:pt idx="843">
                  <c:v>42138</c:v>
                </c:pt>
                <c:pt idx="844">
                  <c:v>42139</c:v>
                </c:pt>
                <c:pt idx="845">
                  <c:v>42142</c:v>
                </c:pt>
                <c:pt idx="846">
                  <c:v>42143</c:v>
                </c:pt>
                <c:pt idx="847">
                  <c:v>42144</c:v>
                </c:pt>
                <c:pt idx="848">
                  <c:v>42145</c:v>
                </c:pt>
                <c:pt idx="849">
                  <c:v>42146</c:v>
                </c:pt>
                <c:pt idx="850">
                  <c:v>42149</c:v>
                </c:pt>
                <c:pt idx="851">
                  <c:v>42150</c:v>
                </c:pt>
                <c:pt idx="852">
                  <c:v>42151</c:v>
                </c:pt>
                <c:pt idx="853">
                  <c:v>42152</c:v>
                </c:pt>
                <c:pt idx="854">
                  <c:v>42153</c:v>
                </c:pt>
                <c:pt idx="855">
                  <c:v>42156</c:v>
                </c:pt>
                <c:pt idx="856">
                  <c:v>42157</c:v>
                </c:pt>
                <c:pt idx="857">
                  <c:v>42158</c:v>
                </c:pt>
                <c:pt idx="858">
                  <c:v>42159</c:v>
                </c:pt>
                <c:pt idx="859">
                  <c:v>42160</c:v>
                </c:pt>
                <c:pt idx="860">
                  <c:v>42163</c:v>
                </c:pt>
                <c:pt idx="861">
                  <c:v>42164</c:v>
                </c:pt>
                <c:pt idx="862">
                  <c:v>42165</c:v>
                </c:pt>
                <c:pt idx="863">
                  <c:v>42166</c:v>
                </c:pt>
                <c:pt idx="864">
                  <c:v>42170</c:v>
                </c:pt>
                <c:pt idx="865">
                  <c:v>42171</c:v>
                </c:pt>
                <c:pt idx="866">
                  <c:v>42172</c:v>
                </c:pt>
                <c:pt idx="867">
                  <c:v>42173</c:v>
                </c:pt>
                <c:pt idx="868">
                  <c:v>42174</c:v>
                </c:pt>
                <c:pt idx="869">
                  <c:v>42177</c:v>
                </c:pt>
                <c:pt idx="870">
                  <c:v>42178</c:v>
                </c:pt>
                <c:pt idx="871">
                  <c:v>42179</c:v>
                </c:pt>
                <c:pt idx="872">
                  <c:v>42180</c:v>
                </c:pt>
                <c:pt idx="873">
                  <c:v>42181</c:v>
                </c:pt>
                <c:pt idx="874">
                  <c:v>42184</c:v>
                </c:pt>
                <c:pt idx="875">
                  <c:v>42185</c:v>
                </c:pt>
                <c:pt idx="876">
                  <c:v>42186</c:v>
                </c:pt>
                <c:pt idx="877">
                  <c:v>42187</c:v>
                </c:pt>
                <c:pt idx="878">
                  <c:v>42188</c:v>
                </c:pt>
                <c:pt idx="879">
                  <c:v>42191</c:v>
                </c:pt>
                <c:pt idx="880">
                  <c:v>42192</c:v>
                </c:pt>
                <c:pt idx="881">
                  <c:v>42193</c:v>
                </c:pt>
                <c:pt idx="882">
                  <c:v>42194</c:v>
                </c:pt>
                <c:pt idx="883">
                  <c:v>42195</c:v>
                </c:pt>
                <c:pt idx="884">
                  <c:v>42198</c:v>
                </c:pt>
                <c:pt idx="885">
                  <c:v>42199</c:v>
                </c:pt>
                <c:pt idx="886">
                  <c:v>42200</c:v>
                </c:pt>
                <c:pt idx="887">
                  <c:v>42201</c:v>
                </c:pt>
                <c:pt idx="888">
                  <c:v>42202</c:v>
                </c:pt>
                <c:pt idx="889">
                  <c:v>42205</c:v>
                </c:pt>
                <c:pt idx="890">
                  <c:v>42206</c:v>
                </c:pt>
                <c:pt idx="891">
                  <c:v>42207</c:v>
                </c:pt>
                <c:pt idx="892">
                  <c:v>42208</c:v>
                </c:pt>
                <c:pt idx="893">
                  <c:v>42209</c:v>
                </c:pt>
                <c:pt idx="894">
                  <c:v>42212</c:v>
                </c:pt>
                <c:pt idx="895">
                  <c:v>42213</c:v>
                </c:pt>
                <c:pt idx="896">
                  <c:v>42214</c:v>
                </c:pt>
                <c:pt idx="897">
                  <c:v>42215</c:v>
                </c:pt>
                <c:pt idx="898">
                  <c:v>42216</c:v>
                </c:pt>
                <c:pt idx="899">
                  <c:v>42219</c:v>
                </c:pt>
                <c:pt idx="900">
                  <c:v>42220</c:v>
                </c:pt>
                <c:pt idx="901">
                  <c:v>42221</c:v>
                </c:pt>
                <c:pt idx="902">
                  <c:v>42222</c:v>
                </c:pt>
                <c:pt idx="903">
                  <c:v>42223</c:v>
                </c:pt>
                <c:pt idx="904">
                  <c:v>42226</c:v>
                </c:pt>
                <c:pt idx="905">
                  <c:v>42227</c:v>
                </c:pt>
                <c:pt idx="906">
                  <c:v>42228</c:v>
                </c:pt>
                <c:pt idx="907">
                  <c:v>42229</c:v>
                </c:pt>
                <c:pt idx="908">
                  <c:v>42230</c:v>
                </c:pt>
                <c:pt idx="909">
                  <c:v>42233</c:v>
                </c:pt>
                <c:pt idx="910">
                  <c:v>42234</c:v>
                </c:pt>
                <c:pt idx="911">
                  <c:v>42235</c:v>
                </c:pt>
                <c:pt idx="912">
                  <c:v>42236</c:v>
                </c:pt>
                <c:pt idx="913">
                  <c:v>42237</c:v>
                </c:pt>
                <c:pt idx="914">
                  <c:v>42240</c:v>
                </c:pt>
                <c:pt idx="915">
                  <c:v>42241</c:v>
                </c:pt>
                <c:pt idx="916">
                  <c:v>42242</c:v>
                </c:pt>
                <c:pt idx="917">
                  <c:v>42243</c:v>
                </c:pt>
                <c:pt idx="918">
                  <c:v>42244</c:v>
                </c:pt>
                <c:pt idx="919">
                  <c:v>42247</c:v>
                </c:pt>
                <c:pt idx="920">
                  <c:v>42248</c:v>
                </c:pt>
                <c:pt idx="921">
                  <c:v>42249</c:v>
                </c:pt>
                <c:pt idx="922">
                  <c:v>42250</c:v>
                </c:pt>
                <c:pt idx="923">
                  <c:v>42251</c:v>
                </c:pt>
                <c:pt idx="924">
                  <c:v>42254</c:v>
                </c:pt>
                <c:pt idx="925">
                  <c:v>42255</c:v>
                </c:pt>
                <c:pt idx="926">
                  <c:v>42256</c:v>
                </c:pt>
                <c:pt idx="927">
                  <c:v>42257</c:v>
                </c:pt>
                <c:pt idx="928">
                  <c:v>42258</c:v>
                </c:pt>
                <c:pt idx="929">
                  <c:v>42261</c:v>
                </c:pt>
                <c:pt idx="930">
                  <c:v>42262</c:v>
                </c:pt>
                <c:pt idx="931">
                  <c:v>42263</c:v>
                </c:pt>
                <c:pt idx="932">
                  <c:v>42264</c:v>
                </c:pt>
                <c:pt idx="933">
                  <c:v>42265</c:v>
                </c:pt>
                <c:pt idx="934">
                  <c:v>42268</c:v>
                </c:pt>
                <c:pt idx="935">
                  <c:v>42269</c:v>
                </c:pt>
                <c:pt idx="936">
                  <c:v>42270</c:v>
                </c:pt>
                <c:pt idx="937">
                  <c:v>42271</c:v>
                </c:pt>
                <c:pt idx="938">
                  <c:v>42272</c:v>
                </c:pt>
                <c:pt idx="939">
                  <c:v>42275</c:v>
                </c:pt>
                <c:pt idx="940">
                  <c:v>42276</c:v>
                </c:pt>
                <c:pt idx="941">
                  <c:v>42277</c:v>
                </c:pt>
                <c:pt idx="942">
                  <c:v>42278</c:v>
                </c:pt>
                <c:pt idx="943">
                  <c:v>42279</c:v>
                </c:pt>
                <c:pt idx="944">
                  <c:v>42282</c:v>
                </c:pt>
                <c:pt idx="945">
                  <c:v>42283</c:v>
                </c:pt>
                <c:pt idx="946">
                  <c:v>42284</c:v>
                </c:pt>
                <c:pt idx="947">
                  <c:v>42285</c:v>
                </c:pt>
                <c:pt idx="948">
                  <c:v>42286</c:v>
                </c:pt>
                <c:pt idx="949">
                  <c:v>42289</c:v>
                </c:pt>
                <c:pt idx="950">
                  <c:v>42290</c:v>
                </c:pt>
                <c:pt idx="951">
                  <c:v>42291</c:v>
                </c:pt>
                <c:pt idx="952">
                  <c:v>42292</c:v>
                </c:pt>
                <c:pt idx="953">
                  <c:v>42293</c:v>
                </c:pt>
                <c:pt idx="954">
                  <c:v>42296</c:v>
                </c:pt>
                <c:pt idx="955">
                  <c:v>42297</c:v>
                </c:pt>
                <c:pt idx="956">
                  <c:v>42298</c:v>
                </c:pt>
                <c:pt idx="957">
                  <c:v>42299</c:v>
                </c:pt>
                <c:pt idx="958">
                  <c:v>42300</c:v>
                </c:pt>
                <c:pt idx="959">
                  <c:v>42303</c:v>
                </c:pt>
                <c:pt idx="960">
                  <c:v>42304</c:v>
                </c:pt>
                <c:pt idx="961">
                  <c:v>42305</c:v>
                </c:pt>
                <c:pt idx="962">
                  <c:v>42306</c:v>
                </c:pt>
                <c:pt idx="963">
                  <c:v>42307</c:v>
                </c:pt>
                <c:pt idx="964">
                  <c:v>42310</c:v>
                </c:pt>
                <c:pt idx="965">
                  <c:v>42311</c:v>
                </c:pt>
                <c:pt idx="966">
                  <c:v>42313</c:v>
                </c:pt>
                <c:pt idx="967">
                  <c:v>42314</c:v>
                </c:pt>
                <c:pt idx="968">
                  <c:v>42317</c:v>
                </c:pt>
                <c:pt idx="969">
                  <c:v>42318</c:v>
                </c:pt>
                <c:pt idx="970">
                  <c:v>42319</c:v>
                </c:pt>
                <c:pt idx="971">
                  <c:v>42320</c:v>
                </c:pt>
                <c:pt idx="972">
                  <c:v>42321</c:v>
                </c:pt>
                <c:pt idx="973">
                  <c:v>42324</c:v>
                </c:pt>
                <c:pt idx="974">
                  <c:v>42325</c:v>
                </c:pt>
                <c:pt idx="975">
                  <c:v>42326</c:v>
                </c:pt>
                <c:pt idx="976">
                  <c:v>42327</c:v>
                </c:pt>
                <c:pt idx="977">
                  <c:v>42328</c:v>
                </c:pt>
                <c:pt idx="978">
                  <c:v>42331</c:v>
                </c:pt>
                <c:pt idx="979">
                  <c:v>42332</c:v>
                </c:pt>
                <c:pt idx="980">
                  <c:v>42333</c:v>
                </c:pt>
                <c:pt idx="981">
                  <c:v>42334</c:v>
                </c:pt>
                <c:pt idx="982">
                  <c:v>42335</c:v>
                </c:pt>
                <c:pt idx="983">
                  <c:v>42338</c:v>
                </c:pt>
                <c:pt idx="984">
                  <c:v>42339</c:v>
                </c:pt>
                <c:pt idx="985">
                  <c:v>42340</c:v>
                </c:pt>
                <c:pt idx="986">
                  <c:v>42341</c:v>
                </c:pt>
                <c:pt idx="987">
                  <c:v>42342</c:v>
                </c:pt>
                <c:pt idx="988">
                  <c:v>42345</c:v>
                </c:pt>
                <c:pt idx="989">
                  <c:v>42346</c:v>
                </c:pt>
                <c:pt idx="990">
                  <c:v>42347</c:v>
                </c:pt>
                <c:pt idx="991">
                  <c:v>42348</c:v>
                </c:pt>
                <c:pt idx="992">
                  <c:v>42349</c:v>
                </c:pt>
                <c:pt idx="993">
                  <c:v>42352</c:v>
                </c:pt>
                <c:pt idx="994">
                  <c:v>42353</c:v>
                </c:pt>
                <c:pt idx="995">
                  <c:v>42354</c:v>
                </c:pt>
                <c:pt idx="996">
                  <c:v>42355</c:v>
                </c:pt>
                <c:pt idx="997">
                  <c:v>42356</c:v>
                </c:pt>
                <c:pt idx="998">
                  <c:v>42359</c:v>
                </c:pt>
                <c:pt idx="999">
                  <c:v>42360</c:v>
                </c:pt>
                <c:pt idx="1000">
                  <c:v>42361</c:v>
                </c:pt>
                <c:pt idx="1001">
                  <c:v>42362</c:v>
                </c:pt>
                <c:pt idx="1002">
                  <c:v>42363</c:v>
                </c:pt>
                <c:pt idx="1003">
                  <c:v>42366</c:v>
                </c:pt>
                <c:pt idx="1004">
                  <c:v>42367</c:v>
                </c:pt>
                <c:pt idx="1005">
                  <c:v>42368</c:v>
                </c:pt>
                <c:pt idx="1006">
                  <c:v>42373</c:v>
                </c:pt>
                <c:pt idx="1007">
                  <c:v>42374</c:v>
                </c:pt>
                <c:pt idx="1008">
                  <c:v>42375</c:v>
                </c:pt>
                <c:pt idx="1009">
                  <c:v>42380</c:v>
                </c:pt>
                <c:pt idx="1010">
                  <c:v>42381</c:v>
                </c:pt>
                <c:pt idx="1011">
                  <c:v>42382</c:v>
                </c:pt>
                <c:pt idx="1012">
                  <c:v>42383</c:v>
                </c:pt>
                <c:pt idx="1013">
                  <c:v>42384</c:v>
                </c:pt>
                <c:pt idx="1014">
                  <c:v>42387</c:v>
                </c:pt>
                <c:pt idx="1015">
                  <c:v>42388</c:v>
                </c:pt>
                <c:pt idx="1016">
                  <c:v>42389</c:v>
                </c:pt>
                <c:pt idx="1017">
                  <c:v>42390</c:v>
                </c:pt>
                <c:pt idx="1018">
                  <c:v>42391</c:v>
                </c:pt>
                <c:pt idx="1019">
                  <c:v>42394</c:v>
                </c:pt>
                <c:pt idx="1020">
                  <c:v>42395</c:v>
                </c:pt>
                <c:pt idx="1021">
                  <c:v>42396</c:v>
                </c:pt>
                <c:pt idx="1022">
                  <c:v>42397</c:v>
                </c:pt>
                <c:pt idx="1023">
                  <c:v>42398</c:v>
                </c:pt>
                <c:pt idx="1024">
                  <c:v>42401</c:v>
                </c:pt>
                <c:pt idx="1025">
                  <c:v>42402</c:v>
                </c:pt>
                <c:pt idx="1026">
                  <c:v>42403</c:v>
                </c:pt>
                <c:pt idx="1027">
                  <c:v>42404</c:v>
                </c:pt>
                <c:pt idx="1028">
                  <c:v>42405</c:v>
                </c:pt>
                <c:pt idx="1029">
                  <c:v>42408</c:v>
                </c:pt>
                <c:pt idx="1030">
                  <c:v>42409</c:v>
                </c:pt>
                <c:pt idx="1031">
                  <c:v>42410</c:v>
                </c:pt>
                <c:pt idx="1032">
                  <c:v>42411</c:v>
                </c:pt>
                <c:pt idx="1033">
                  <c:v>42412</c:v>
                </c:pt>
                <c:pt idx="1034">
                  <c:v>42415</c:v>
                </c:pt>
                <c:pt idx="1035">
                  <c:v>42416</c:v>
                </c:pt>
                <c:pt idx="1036">
                  <c:v>42417</c:v>
                </c:pt>
                <c:pt idx="1037">
                  <c:v>42418</c:v>
                </c:pt>
                <c:pt idx="1038">
                  <c:v>42419</c:v>
                </c:pt>
                <c:pt idx="1039">
                  <c:v>42420</c:v>
                </c:pt>
                <c:pt idx="1040">
                  <c:v>42422</c:v>
                </c:pt>
                <c:pt idx="1041">
                  <c:v>42424</c:v>
                </c:pt>
                <c:pt idx="1042">
                  <c:v>42425</c:v>
                </c:pt>
                <c:pt idx="1043">
                  <c:v>42426</c:v>
                </c:pt>
                <c:pt idx="1044">
                  <c:v>42429</c:v>
                </c:pt>
                <c:pt idx="1045">
                  <c:v>42430</c:v>
                </c:pt>
                <c:pt idx="1046">
                  <c:v>42431</c:v>
                </c:pt>
                <c:pt idx="1047">
                  <c:v>42432</c:v>
                </c:pt>
                <c:pt idx="1048">
                  <c:v>42433</c:v>
                </c:pt>
                <c:pt idx="1049">
                  <c:v>42436</c:v>
                </c:pt>
                <c:pt idx="1050">
                  <c:v>42438</c:v>
                </c:pt>
                <c:pt idx="1051">
                  <c:v>42439</c:v>
                </c:pt>
                <c:pt idx="1052">
                  <c:v>42440</c:v>
                </c:pt>
                <c:pt idx="1053">
                  <c:v>42443</c:v>
                </c:pt>
                <c:pt idx="1054">
                  <c:v>42444</c:v>
                </c:pt>
                <c:pt idx="1055">
                  <c:v>42445</c:v>
                </c:pt>
                <c:pt idx="1056">
                  <c:v>42446</c:v>
                </c:pt>
                <c:pt idx="1057">
                  <c:v>42447</c:v>
                </c:pt>
                <c:pt idx="1058">
                  <c:v>42450</c:v>
                </c:pt>
                <c:pt idx="1059">
                  <c:v>42451</c:v>
                </c:pt>
                <c:pt idx="1060">
                  <c:v>42452</c:v>
                </c:pt>
                <c:pt idx="1061">
                  <c:v>42453</c:v>
                </c:pt>
                <c:pt idx="1062">
                  <c:v>42454</c:v>
                </c:pt>
                <c:pt idx="1063">
                  <c:v>42457</c:v>
                </c:pt>
                <c:pt idx="1064">
                  <c:v>42458</c:v>
                </c:pt>
                <c:pt idx="1065">
                  <c:v>42459</c:v>
                </c:pt>
                <c:pt idx="1066">
                  <c:v>42460</c:v>
                </c:pt>
                <c:pt idx="1067">
                  <c:v>42461</c:v>
                </c:pt>
                <c:pt idx="1068">
                  <c:v>42464</c:v>
                </c:pt>
                <c:pt idx="1069">
                  <c:v>42465</c:v>
                </c:pt>
                <c:pt idx="1070">
                  <c:v>42466</c:v>
                </c:pt>
                <c:pt idx="1071">
                  <c:v>42467</c:v>
                </c:pt>
                <c:pt idx="1072">
                  <c:v>42468</c:v>
                </c:pt>
                <c:pt idx="1073">
                  <c:v>42471</c:v>
                </c:pt>
                <c:pt idx="1074">
                  <c:v>42472</c:v>
                </c:pt>
                <c:pt idx="1075">
                  <c:v>42473</c:v>
                </c:pt>
                <c:pt idx="1076">
                  <c:v>42474</c:v>
                </c:pt>
                <c:pt idx="1077">
                  <c:v>42475</c:v>
                </c:pt>
                <c:pt idx="1078">
                  <c:v>42478</c:v>
                </c:pt>
                <c:pt idx="1079">
                  <c:v>42479</c:v>
                </c:pt>
                <c:pt idx="1080">
                  <c:v>42480</c:v>
                </c:pt>
                <c:pt idx="1081">
                  <c:v>42481</c:v>
                </c:pt>
                <c:pt idx="1082">
                  <c:v>42482</c:v>
                </c:pt>
                <c:pt idx="1083">
                  <c:v>42485</c:v>
                </c:pt>
                <c:pt idx="1084">
                  <c:v>42486</c:v>
                </c:pt>
                <c:pt idx="1085">
                  <c:v>42487</c:v>
                </c:pt>
                <c:pt idx="1086">
                  <c:v>42488</c:v>
                </c:pt>
                <c:pt idx="1087">
                  <c:v>42489</c:v>
                </c:pt>
                <c:pt idx="1088">
                  <c:v>42494</c:v>
                </c:pt>
                <c:pt idx="1089">
                  <c:v>42495</c:v>
                </c:pt>
                <c:pt idx="1090">
                  <c:v>42496</c:v>
                </c:pt>
                <c:pt idx="1091">
                  <c:v>42500</c:v>
                </c:pt>
                <c:pt idx="1092">
                  <c:v>42501</c:v>
                </c:pt>
                <c:pt idx="1093">
                  <c:v>42502</c:v>
                </c:pt>
                <c:pt idx="1094">
                  <c:v>42503</c:v>
                </c:pt>
                <c:pt idx="1095">
                  <c:v>42506</c:v>
                </c:pt>
                <c:pt idx="1096">
                  <c:v>42507</c:v>
                </c:pt>
                <c:pt idx="1097">
                  <c:v>42508</c:v>
                </c:pt>
                <c:pt idx="1098">
                  <c:v>42509</c:v>
                </c:pt>
                <c:pt idx="1099">
                  <c:v>42510</c:v>
                </c:pt>
                <c:pt idx="1100">
                  <c:v>42513</c:v>
                </c:pt>
                <c:pt idx="1101">
                  <c:v>42514</c:v>
                </c:pt>
                <c:pt idx="1102">
                  <c:v>42515</c:v>
                </c:pt>
                <c:pt idx="1103">
                  <c:v>42516</c:v>
                </c:pt>
                <c:pt idx="1104">
                  <c:v>42517</c:v>
                </c:pt>
                <c:pt idx="1105">
                  <c:v>42520</c:v>
                </c:pt>
                <c:pt idx="1106">
                  <c:v>42521</c:v>
                </c:pt>
                <c:pt idx="1107">
                  <c:v>42522</c:v>
                </c:pt>
                <c:pt idx="1108">
                  <c:v>42523</c:v>
                </c:pt>
                <c:pt idx="1109">
                  <c:v>42524</c:v>
                </c:pt>
                <c:pt idx="1110">
                  <c:v>42527</c:v>
                </c:pt>
                <c:pt idx="1111">
                  <c:v>42528</c:v>
                </c:pt>
                <c:pt idx="1112">
                  <c:v>42529</c:v>
                </c:pt>
                <c:pt idx="1113">
                  <c:v>42530</c:v>
                </c:pt>
                <c:pt idx="1114">
                  <c:v>42531</c:v>
                </c:pt>
                <c:pt idx="1115">
                  <c:v>42535</c:v>
                </c:pt>
                <c:pt idx="1116">
                  <c:v>42536</c:v>
                </c:pt>
                <c:pt idx="1117">
                  <c:v>42537</c:v>
                </c:pt>
                <c:pt idx="1118">
                  <c:v>42538</c:v>
                </c:pt>
                <c:pt idx="1119">
                  <c:v>42541</c:v>
                </c:pt>
                <c:pt idx="1120">
                  <c:v>42542</c:v>
                </c:pt>
                <c:pt idx="1121">
                  <c:v>42543</c:v>
                </c:pt>
                <c:pt idx="1122">
                  <c:v>42544</c:v>
                </c:pt>
                <c:pt idx="1123">
                  <c:v>42545</c:v>
                </c:pt>
                <c:pt idx="1124">
                  <c:v>42548</c:v>
                </c:pt>
                <c:pt idx="1125">
                  <c:v>42549</c:v>
                </c:pt>
                <c:pt idx="1126">
                  <c:v>42550</c:v>
                </c:pt>
                <c:pt idx="1127">
                  <c:v>42551</c:v>
                </c:pt>
                <c:pt idx="1128">
                  <c:v>42552</c:v>
                </c:pt>
                <c:pt idx="1129">
                  <c:v>42555</c:v>
                </c:pt>
                <c:pt idx="1130">
                  <c:v>42556</c:v>
                </c:pt>
                <c:pt idx="1131">
                  <c:v>42557</c:v>
                </c:pt>
                <c:pt idx="1132">
                  <c:v>42558</c:v>
                </c:pt>
                <c:pt idx="1133">
                  <c:v>42559</c:v>
                </c:pt>
                <c:pt idx="1134">
                  <c:v>42562</c:v>
                </c:pt>
                <c:pt idx="1135">
                  <c:v>42563</c:v>
                </c:pt>
                <c:pt idx="1136">
                  <c:v>42564</c:v>
                </c:pt>
                <c:pt idx="1137">
                  <c:v>42565</c:v>
                </c:pt>
                <c:pt idx="1138">
                  <c:v>42566</c:v>
                </c:pt>
                <c:pt idx="1139">
                  <c:v>42569</c:v>
                </c:pt>
                <c:pt idx="1140">
                  <c:v>42570</c:v>
                </c:pt>
                <c:pt idx="1141">
                  <c:v>42571</c:v>
                </c:pt>
                <c:pt idx="1142">
                  <c:v>42572</c:v>
                </c:pt>
                <c:pt idx="1143">
                  <c:v>42573</c:v>
                </c:pt>
                <c:pt idx="1144">
                  <c:v>42576</c:v>
                </c:pt>
                <c:pt idx="1145">
                  <c:v>42577</c:v>
                </c:pt>
                <c:pt idx="1146">
                  <c:v>42578</c:v>
                </c:pt>
                <c:pt idx="1147">
                  <c:v>42579</c:v>
                </c:pt>
                <c:pt idx="1148">
                  <c:v>42580</c:v>
                </c:pt>
                <c:pt idx="1149">
                  <c:v>42583</c:v>
                </c:pt>
                <c:pt idx="1150">
                  <c:v>42584</c:v>
                </c:pt>
                <c:pt idx="1151">
                  <c:v>42585</c:v>
                </c:pt>
                <c:pt idx="1152">
                  <c:v>42586</c:v>
                </c:pt>
                <c:pt idx="1153">
                  <c:v>42587</c:v>
                </c:pt>
                <c:pt idx="1154">
                  <c:v>42590</c:v>
                </c:pt>
                <c:pt idx="1155">
                  <c:v>42591</c:v>
                </c:pt>
                <c:pt idx="1156">
                  <c:v>42592</c:v>
                </c:pt>
                <c:pt idx="1157">
                  <c:v>42593</c:v>
                </c:pt>
                <c:pt idx="1158">
                  <c:v>42594</c:v>
                </c:pt>
                <c:pt idx="1159">
                  <c:v>42597</c:v>
                </c:pt>
                <c:pt idx="1160">
                  <c:v>42598</c:v>
                </c:pt>
                <c:pt idx="1161">
                  <c:v>42599</c:v>
                </c:pt>
                <c:pt idx="1162">
                  <c:v>42600</c:v>
                </c:pt>
                <c:pt idx="1163">
                  <c:v>42601</c:v>
                </c:pt>
                <c:pt idx="1164">
                  <c:v>42604</c:v>
                </c:pt>
                <c:pt idx="1165">
                  <c:v>42605</c:v>
                </c:pt>
                <c:pt idx="1166">
                  <c:v>42606</c:v>
                </c:pt>
                <c:pt idx="1167">
                  <c:v>42607</c:v>
                </c:pt>
                <c:pt idx="1168">
                  <c:v>42608</c:v>
                </c:pt>
                <c:pt idx="1169">
                  <c:v>42611</c:v>
                </c:pt>
                <c:pt idx="1170">
                  <c:v>42612</c:v>
                </c:pt>
                <c:pt idx="1171">
                  <c:v>42613</c:v>
                </c:pt>
                <c:pt idx="1172">
                  <c:v>42614</c:v>
                </c:pt>
                <c:pt idx="1173">
                  <c:v>42615</c:v>
                </c:pt>
                <c:pt idx="1174">
                  <c:v>42618</c:v>
                </c:pt>
                <c:pt idx="1175">
                  <c:v>42619</c:v>
                </c:pt>
                <c:pt idx="1176">
                  <c:v>42620</c:v>
                </c:pt>
                <c:pt idx="1177">
                  <c:v>42621</c:v>
                </c:pt>
                <c:pt idx="1178">
                  <c:v>42622</c:v>
                </c:pt>
                <c:pt idx="1179">
                  <c:v>42625</c:v>
                </c:pt>
                <c:pt idx="1180">
                  <c:v>42626</c:v>
                </c:pt>
                <c:pt idx="1181">
                  <c:v>42627</c:v>
                </c:pt>
                <c:pt idx="1182">
                  <c:v>42628</c:v>
                </c:pt>
                <c:pt idx="1183">
                  <c:v>42629</c:v>
                </c:pt>
                <c:pt idx="1184">
                  <c:v>42632</c:v>
                </c:pt>
                <c:pt idx="1185">
                  <c:v>42633</c:v>
                </c:pt>
                <c:pt idx="1186">
                  <c:v>42634</c:v>
                </c:pt>
                <c:pt idx="1187">
                  <c:v>42635</c:v>
                </c:pt>
                <c:pt idx="1188">
                  <c:v>42636</c:v>
                </c:pt>
                <c:pt idx="1189">
                  <c:v>42639</c:v>
                </c:pt>
                <c:pt idx="1190">
                  <c:v>42640</c:v>
                </c:pt>
                <c:pt idx="1191">
                  <c:v>42641</c:v>
                </c:pt>
                <c:pt idx="1192">
                  <c:v>42642</c:v>
                </c:pt>
                <c:pt idx="1193">
                  <c:v>42643</c:v>
                </c:pt>
                <c:pt idx="1194">
                  <c:v>42646</c:v>
                </c:pt>
                <c:pt idx="1195">
                  <c:v>42647</c:v>
                </c:pt>
                <c:pt idx="1196">
                  <c:v>42648</c:v>
                </c:pt>
                <c:pt idx="1197">
                  <c:v>42649</c:v>
                </c:pt>
                <c:pt idx="1198">
                  <c:v>42650</c:v>
                </c:pt>
                <c:pt idx="1199">
                  <c:v>42653</c:v>
                </c:pt>
                <c:pt idx="1200">
                  <c:v>42654</c:v>
                </c:pt>
                <c:pt idx="1201">
                  <c:v>42655</c:v>
                </c:pt>
                <c:pt idx="1202">
                  <c:v>42656</c:v>
                </c:pt>
                <c:pt idx="1203">
                  <c:v>42657</c:v>
                </c:pt>
                <c:pt idx="1204">
                  <c:v>42660</c:v>
                </c:pt>
                <c:pt idx="1205">
                  <c:v>42661</c:v>
                </c:pt>
                <c:pt idx="1206">
                  <c:v>42662</c:v>
                </c:pt>
                <c:pt idx="1207">
                  <c:v>42663</c:v>
                </c:pt>
                <c:pt idx="1208">
                  <c:v>42664</c:v>
                </c:pt>
                <c:pt idx="1209">
                  <c:v>42667</c:v>
                </c:pt>
                <c:pt idx="1210">
                  <c:v>42668</c:v>
                </c:pt>
                <c:pt idx="1211">
                  <c:v>42669</c:v>
                </c:pt>
                <c:pt idx="1212">
                  <c:v>42670</c:v>
                </c:pt>
                <c:pt idx="1213">
                  <c:v>42671</c:v>
                </c:pt>
                <c:pt idx="1214">
                  <c:v>42674</c:v>
                </c:pt>
                <c:pt idx="1215">
                  <c:v>42675</c:v>
                </c:pt>
                <c:pt idx="1216">
                  <c:v>42676</c:v>
                </c:pt>
                <c:pt idx="1217">
                  <c:v>42677</c:v>
                </c:pt>
                <c:pt idx="1218">
                  <c:v>42681</c:v>
                </c:pt>
                <c:pt idx="1219">
                  <c:v>42682</c:v>
                </c:pt>
                <c:pt idx="1220">
                  <c:v>42683</c:v>
                </c:pt>
                <c:pt idx="1221">
                  <c:v>42684</c:v>
                </c:pt>
                <c:pt idx="1222">
                  <c:v>42685</c:v>
                </c:pt>
                <c:pt idx="1223">
                  <c:v>42688</c:v>
                </c:pt>
                <c:pt idx="1224">
                  <c:v>42689</c:v>
                </c:pt>
                <c:pt idx="1225">
                  <c:v>42690</c:v>
                </c:pt>
                <c:pt idx="1226">
                  <c:v>42691</c:v>
                </c:pt>
                <c:pt idx="1227">
                  <c:v>42692</c:v>
                </c:pt>
                <c:pt idx="1228">
                  <c:v>42695</c:v>
                </c:pt>
                <c:pt idx="1229">
                  <c:v>42696</c:v>
                </c:pt>
                <c:pt idx="1230">
                  <c:v>42697</c:v>
                </c:pt>
                <c:pt idx="1231">
                  <c:v>42698</c:v>
                </c:pt>
                <c:pt idx="1232">
                  <c:v>42699</c:v>
                </c:pt>
                <c:pt idx="1233">
                  <c:v>42702</c:v>
                </c:pt>
                <c:pt idx="1234">
                  <c:v>42703</c:v>
                </c:pt>
                <c:pt idx="1235">
                  <c:v>42704</c:v>
                </c:pt>
                <c:pt idx="1236">
                  <c:v>42705</c:v>
                </c:pt>
                <c:pt idx="1237">
                  <c:v>42706</c:v>
                </c:pt>
                <c:pt idx="1238">
                  <c:v>42709</c:v>
                </c:pt>
                <c:pt idx="1239">
                  <c:v>42710</c:v>
                </c:pt>
                <c:pt idx="1240">
                  <c:v>42711</c:v>
                </c:pt>
                <c:pt idx="1241">
                  <c:v>42712</c:v>
                </c:pt>
                <c:pt idx="1242">
                  <c:v>42713</c:v>
                </c:pt>
                <c:pt idx="1243">
                  <c:v>42716</c:v>
                </c:pt>
                <c:pt idx="1244">
                  <c:v>42717</c:v>
                </c:pt>
                <c:pt idx="1245">
                  <c:v>42718</c:v>
                </c:pt>
                <c:pt idx="1246">
                  <c:v>42719</c:v>
                </c:pt>
                <c:pt idx="1247">
                  <c:v>42720</c:v>
                </c:pt>
                <c:pt idx="1248">
                  <c:v>42723</c:v>
                </c:pt>
                <c:pt idx="1249">
                  <c:v>42724</c:v>
                </c:pt>
                <c:pt idx="1250">
                  <c:v>42725</c:v>
                </c:pt>
                <c:pt idx="1251">
                  <c:v>42726</c:v>
                </c:pt>
                <c:pt idx="1252">
                  <c:v>42727</c:v>
                </c:pt>
                <c:pt idx="1253">
                  <c:v>42730</c:v>
                </c:pt>
                <c:pt idx="1254">
                  <c:v>42731</c:v>
                </c:pt>
                <c:pt idx="1255">
                  <c:v>42732</c:v>
                </c:pt>
                <c:pt idx="1256">
                  <c:v>42733</c:v>
                </c:pt>
                <c:pt idx="1257">
                  <c:v>42734</c:v>
                </c:pt>
                <c:pt idx="1258">
                  <c:v>42738</c:v>
                </c:pt>
                <c:pt idx="1259">
                  <c:v>42739</c:v>
                </c:pt>
                <c:pt idx="1260">
                  <c:v>42740</c:v>
                </c:pt>
                <c:pt idx="1261">
                  <c:v>42741</c:v>
                </c:pt>
                <c:pt idx="1262">
                  <c:v>42744</c:v>
                </c:pt>
                <c:pt idx="1263">
                  <c:v>42745</c:v>
                </c:pt>
                <c:pt idx="1264">
                  <c:v>42746</c:v>
                </c:pt>
                <c:pt idx="1265">
                  <c:v>42747</c:v>
                </c:pt>
                <c:pt idx="1266">
                  <c:v>42748</c:v>
                </c:pt>
                <c:pt idx="1267">
                  <c:v>42751</c:v>
                </c:pt>
                <c:pt idx="1268">
                  <c:v>42752</c:v>
                </c:pt>
                <c:pt idx="1269">
                  <c:v>42753</c:v>
                </c:pt>
                <c:pt idx="1270">
                  <c:v>42754</c:v>
                </c:pt>
                <c:pt idx="1271">
                  <c:v>42755</c:v>
                </c:pt>
                <c:pt idx="1272">
                  <c:v>42758</c:v>
                </c:pt>
                <c:pt idx="1273">
                  <c:v>42759</c:v>
                </c:pt>
                <c:pt idx="1274">
                  <c:v>42760</c:v>
                </c:pt>
                <c:pt idx="1275">
                  <c:v>42761</c:v>
                </c:pt>
                <c:pt idx="1276">
                  <c:v>42762</c:v>
                </c:pt>
                <c:pt idx="1277">
                  <c:v>42765</c:v>
                </c:pt>
                <c:pt idx="1278">
                  <c:v>42766</c:v>
                </c:pt>
                <c:pt idx="1279">
                  <c:v>42767</c:v>
                </c:pt>
                <c:pt idx="1280">
                  <c:v>42768</c:v>
                </c:pt>
                <c:pt idx="1281">
                  <c:v>42769</c:v>
                </c:pt>
                <c:pt idx="1282">
                  <c:v>42772</c:v>
                </c:pt>
                <c:pt idx="1283">
                  <c:v>42773</c:v>
                </c:pt>
                <c:pt idx="1284">
                  <c:v>42774</c:v>
                </c:pt>
                <c:pt idx="1285">
                  <c:v>42775</c:v>
                </c:pt>
                <c:pt idx="1286">
                  <c:v>42776</c:v>
                </c:pt>
                <c:pt idx="1287">
                  <c:v>42779</c:v>
                </c:pt>
                <c:pt idx="1288">
                  <c:v>42780</c:v>
                </c:pt>
                <c:pt idx="1289">
                  <c:v>42781</c:v>
                </c:pt>
                <c:pt idx="1290">
                  <c:v>42782</c:v>
                </c:pt>
                <c:pt idx="1291">
                  <c:v>42783</c:v>
                </c:pt>
                <c:pt idx="1292">
                  <c:v>42786</c:v>
                </c:pt>
                <c:pt idx="1293">
                  <c:v>42787</c:v>
                </c:pt>
                <c:pt idx="1294">
                  <c:v>42788</c:v>
                </c:pt>
                <c:pt idx="1295">
                  <c:v>42790</c:v>
                </c:pt>
                <c:pt idx="1296">
                  <c:v>42793</c:v>
                </c:pt>
                <c:pt idx="1297">
                  <c:v>42794</c:v>
                </c:pt>
                <c:pt idx="1298">
                  <c:v>42795</c:v>
                </c:pt>
                <c:pt idx="1299">
                  <c:v>42796</c:v>
                </c:pt>
                <c:pt idx="1300">
                  <c:v>42797</c:v>
                </c:pt>
                <c:pt idx="1301">
                  <c:v>42800</c:v>
                </c:pt>
                <c:pt idx="1302">
                  <c:v>42801</c:v>
                </c:pt>
                <c:pt idx="1303">
                  <c:v>42803</c:v>
                </c:pt>
                <c:pt idx="1304">
                  <c:v>42804</c:v>
                </c:pt>
                <c:pt idx="1305">
                  <c:v>42807</c:v>
                </c:pt>
                <c:pt idx="1306">
                  <c:v>42808</c:v>
                </c:pt>
                <c:pt idx="1307">
                  <c:v>42809</c:v>
                </c:pt>
                <c:pt idx="1308">
                  <c:v>42810</c:v>
                </c:pt>
                <c:pt idx="1309">
                  <c:v>42811</c:v>
                </c:pt>
                <c:pt idx="1310">
                  <c:v>42814</c:v>
                </c:pt>
                <c:pt idx="1311">
                  <c:v>42815</c:v>
                </c:pt>
                <c:pt idx="1312">
                  <c:v>42816</c:v>
                </c:pt>
                <c:pt idx="1313">
                  <c:v>42817</c:v>
                </c:pt>
                <c:pt idx="1314">
                  <c:v>42818</c:v>
                </c:pt>
                <c:pt idx="1315">
                  <c:v>42821</c:v>
                </c:pt>
                <c:pt idx="1316">
                  <c:v>42822</c:v>
                </c:pt>
                <c:pt idx="1317">
                  <c:v>42823</c:v>
                </c:pt>
                <c:pt idx="1318">
                  <c:v>42824</c:v>
                </c:pt>
                <c:pt idx="1319">
                  <c:v>42825</c:v>
                </c:pt>
                <c:pt idx="1320">
                  <c:v>42828</c:v>
                </c:pt>
                <c:pt idx="1321">
                  <c:v>42829</c:v>
                </c:pt>
                <c:pt idx="1322">
                  <c:v>42830</c:v>
                </c:pt>
                <c:pt idx="1323">
                  <c:v>42831</c:v>
                </c:pt>
                <c:pt idx="1324">
                  <c:v>42832</c:v>
                </c:pt>
                <c:pt idx="1325">
                  <c:v>42835</c:v>
                </c:pt>
                <c:pt idx="1326">
                  <c:v>42836</c:v>
                </c:pt>
                <c:pt idx="1327">
                  <c:v>42837</c:v>
                </c:pt>
                <c:pt idx="1328">
                  <c:v>42838</c:v>
                </c:pt>
                <c:pt idx="1329">
                  <c:v>42839</c:v>
                </c:pt>
                <c:pt idx="1330">
                  <c:v>42842</c:v>
                </c:pt>
                <c:pt idx="1331">
                  <c:v>42843</c:v>
                </c:pt>
                <c:pt idx="1332">
                  <c:v>42844</c:v>
                </c:pt>
                <c:pt idx="1333">
                  <c:v>42845</c:v>
                </c:pt>
                <c:pt idx="1334">
                  <c:v>42846</c:v>
                </c:pt>
                <c:pt idx="1335">
                  <c:v>42849</c:v>
                </c:pt>
                <c:pt idx="1336">
                  <c:v>42850</c:v>
                </c:pt>
                <c:pt idx="1337">
                  <c:v>42851</c:v>
                </c:pt>
                <c:pt idx="1338">
                  <c:v>42852</c:v>
                </c:pt>
                <c:pt idx="1339">
                  <c:v>42853</c:v>
                </c:pt>
                <c:pt idx="1340">
                  <c:v>42857</c:v>
                </c:pt>
                <c:pt idx="1341">
                  <c:v>42858</c:v>
                </c:pt>
                <c:pt idx="1342">
                  <c:v>42859</c:v>
                </c:pt>
                <c:pt idx="1343">
                  <c:v>42860</c:v>
                </c:pt>
                <c:pt idx="1344">
                  <c:v>42865</c:v>
                </c:pt>
                <c:pt idx="1345">
                  <c:v>42866</c:v>
                </c:pt>
                <c:pt idx="1346">
                  <c:v>42867</c:v>
                </c:pt>
                <c:pt idx="1347">
                  <c:v>42870</c:v>
                </c:pt>
                <c:pt idx="1348">
                  <c:v>42871</c:v>
                </c:pt>
                <c:pt idx="1349">
                  <c:v>42872</c:v>
                </c:pt>
                <c:pt idx="1350">
                  <c:v>42873</c:v>
                </c:pt>
                <c:pt idx="1351">
                  <c:v>42874</c:v>
                </c:pt>
                <c:pt idx="1352">
                  <c:v>42877</c:v>
                </c:pt>
                <c:pt idx="1353">
                  <c:v>42878</c:v>
                </c:pt>
                <c:pt idx="1354">
                  <c:v>42879</c:v>
                </c:pt>
                <c:pt idx="1355">
                  <c:v>42880</c:v>
                </c:pt>
                <c:pt idx="1356">
                  <c:v>42881</c:v>
                </c:pt>
                <c:pt idx="1357">
                  <c:v>42884</c:v>
                </c:pt>
                <c:pt idx="1358">
                  <c:v>42885</c:v>
                </c:pt>
                <c:pt idx="1359">
                  <c:v>42886</c:v>
                </c:pt>
                <c:pt idx="1360">
                  <c:v>42887</c:v>
                </c:pt>
                <c:pt idx="1361">
                  <c:v>42888</c:v>
                </c:pt>
                <c:pt idx="1362">
                  <c:v>42891</c:v>
                </c:pt>
                <c:pt idx="1363">
                  <c:v>42892</c:v>
                </c:pt>
                <c:pt idx="1364">
                  <c:v>42893</c:v>
                </c:pt>
                <c:pt idx="1365">
                  <c:v>42894</c:v>
                </c:pt>
                <c:pt idx="1366">
                  <c:v>42895</c:v>
                </c:pt>
                <c:pt idx="1367">
                  <c:v>42899</c:v>
                </c:pt>
                <c:pt idx="1368">
                  <c:v>42900</c:v>
                </c:pt>
                <c:pt idx="1369">
                  <c:v>42901</c:v>
                </c:pt>
                <c:pt idx="1370">
                  <c:v>42902</c:v>
                </c:pt>
                <c:pt idx="1371">
                  <c:v>42905</c:v>
                </c:pt>
                <c:pt idx="1372">
                  <c:v>42906</c:v>
                </c:pt>
                <c:pt idx="1373">
                  <c:v>42907</c:v>
                </c:pt>
                <c:pt idx="1374">
                  <c:v>42908</c:v>
                </c:pt>
                <c:pt idx="1375">
                  <c:v>42909</c:v>
                </c:pt>
                <c:pt idx="1376">
                  <c:v>42912</c:v>
                </c:pt>
                <c:pt idx="1377">
                  <c:v>42913</c:v>
                </c:pt>
                <c:pt idx="1378">
                  <c:v>42914</c:v>
                </c:pt>
                <c:pt idx="1379">
                  <c:v>42915</c:v>
                </c:pt>
                <c:pt idx="1380">
                  <c:v>42916</c:v>
                </c:pt>
                <c:pt idx="1381">
                  <c:v>42919</c:v>
                </c:pt>
                <c:pt idx="1382">
                  <c:v>42920</c:v>
                </c:pt>
                <c:pt idx="1383">
                  <c:v>42921</c:v>
                </c:pt>
                <c:pt idx="1384">
                  <c:v>42922</c:v>
                </c:pt>
                <c:pt idx="1385">
                  <c:v>42923</c:v>
                </c:pt>
                <c:pt idx="1386">
                  <c:v>42926</c:v>
                </c:pt>
                <c:pt idx="1387">
                  <c:v>42927</c:v>
                </c:pt>
                <c:pt idx="1388">
                  <c:v>42928</c:v>
                </c:pt>
                <c:pt idx="1389">
                  <c:v>42929</c:v>
                </c:pt>
                <c:pt idx="1390">
                  <c:v>42930</c:v>
                </c:pt>
                <c:pt idx="1391">
                  <c:v>42933</c:v>
                </c:pt>
                <c:pt idx="1392">
                  <c:v>42934</c:v>
                </c:pt>
                <c:pt idx="1393">
                  <c:v>42935</c:v>
                </c:pt>
                <c:pt idx="1394">
                  <c:v>42936</c:v>
                </c:pt>
                <c:pt idx="1395">
                  <c:v>42937</c:v>
                </c:pt>
                <c:pt idx="1396">
                  <c:v>42940</c:v>
                </c:pt>
                <c:pt idx="1397">
                  <c:v>42941</c:v>
                </c:pt>
                <c:pt idx="1398">
                  <c:v>42942</c:v>
                </c:pt>
                <c:pt idx="1399">
                  <c:v>42943</c:v>
                </c:pt>
                <c:pt idx="1400">
                  <c:v>42944</c:v>
                </c:pt>
                <c:pt idx="1401">
                  <c:v>42947</c:v>
                </c:pt>
                <c:pt idx="1402">
                  <c:v>42948</c:v>
                </c:pt>
                <c:pt idx="1403">
                  <c:v>42949</c:v>
                </c:pt>
                <c:pt idx="1404">
                  <c:v>42950</c:v>
                </c:pt>
                <c:pt idx="1405">
                  <c:v>42951</c:v>
                </c:pt>
                <c:pt idx="1406">
                  <c:v>42954</c:v>
                </c:pt>
                <c:pt idx="1407">
                  <c:v>42955</c:v>
                </c:pt>
                <c:pt idx="1408">
                  <c:v>42956</c:v>
                </c:pt>
                <c:pt idx="1409">
                  <c:v>42957</c:v>
                </c:pt>
                <c:pt idx="1410">
                  <c:v>42958</c:v>
                </c:pt>
                <c:pt idx="1411">
                  <c:v>42961</c:v>
                </c:pt>
                <c:pt idx="1412">
                  <c:v>42962</c:v>
                </c:pt>
                <c:pt idx="1413">
                  <c:v>42963</c:v>
                </c:pt>
                <c:pt idx="1414">
                  <c:v>42964</c:v>
                </c:pt>
                <c:pt idx="1415">
                  <c:v>42965</c:v>
                </c:pt>
                <c:pt idx="1416">
                  <c:v>42968</c:v>
                </c:pt>
                <c:pt idx="1417">
                  <c:v>42969</c:v>
                </c:pt>
                <c:pt idx="1418">
                  <c:v>42970</c:v>
                </c:pt>
                <c:pt idx="1419">
                  <c:v>42971</c:v>
                </c:pt>
                <c:pt idx="1420">
                  <c:v>42972</c:v>
                </c:pt>
                <c:pt idx="1421">
                  <c:v>42975</c:v>
                </c:pt>
                <c:pt idx="1422">
                  <c:v>42976</c:v>
                </c:pt>
                <c:pt idx="1423">
                  <c:v>42977</c:v>
                </c:pt>
                <c:pt idx="1424">
                  <c:v>42978</c:v>
                </c:pt>
                <c:pt idx="1425">
                  <c:v>42979</c:v>
                </c:pt>
                <c:pt idx="1426">
                  <c:v>42982</c:v>
                </c:pt>
                <c:pt idx="1427">
                  <c:v>42983</c:v>
                </c:pt>
                <c:pt idx="1428">
                  <c:v>42984</c:v>
                </c:pt>
                <c:pt idx="1429">
                  <c:v>42985</c:v>
                </c:pt>
                <c:pt idx="1430">
                  <c:v>42986</c:v>
                </c:pt>
                <c:pt idx="1431">
                  <c:v>42989</c:v>
                </c:pt>
                <c:pt idx="1432">
                  <c:v>42990</c:v>
                </c:pt>
                <c:pt idx="1433">
                  <c:v>42991</c:v>
                </c:pt>
                <c:pt idx="1434">
                  <c:v>42992</c:v>
                </c:pt>
                <c:pt idx="1435">
                  <c:v>42993</c:v>
                </c:pt>
                <c:pt idx="1436">
                  <c:v>42996</c:v>
                </c:pt>
                <c:pt idx="1437">
                  <c:v>42997</c:v>
                </c:pt>
                <c:pt idx="1438">
                  <c:v>42998</c:v>
                </c:pt>
                <c:pt idx="1439">
                  <c:v>42999</c:v>
                </c:pt>
                <c:pt idx="1440">
                  <c:v>43000</c:v>
                </c:pt>
                <c:pt idx="1441">
                  <c:v>43003</c:v>
                </c:pt>
                <c:pt idx="1442">
                  <c:v>43004</c:v>
                </c:pt>
                <c:pt idx="1443">
                  <c:v>43005</c:v>
                </c:pt>
                <c:pt idx="1444">
                  <c:v>43006</c:v>
                </c:pt>
                <c:pt idx="1445">
                  <c:v>43007</c:v>
                </c:pt>
                <c:pt idx="1446">
                  <c:v>43010</c:v>
                </c:pt>
                <c:pt idx="1447">
                  <c:v>43011</c:v>
                </c:pt>
                <c:pt idx="1448">
                  <c:v>43012</c:v>
                </c:pt>
                <c:pt idx="1449">
                  <c:v>43013</c:v>
                </c:pt>
                <c:pt idx="1450">
                  <c:v>43014</c:v>
                </c:pt>
                <c:pt idx="1451">
                  <c:v>43017</c:v>
                </c:pt>
                <c:pt idx="1452">
                  <c:v>43018</c:v>
                </c:pt>
                <c:pt idx="1453">
                  <c:v>43019</c:v>
                </c:pt>
                <c:pt idx="1454">
                  <c:v>43020</c:v>
                </c:pt>
                <c:pt idx="1455">
                  <c:v>43021</c:v>
                </c:pt>
                <c:pt idx="1456">
                  <c:v>43024</c:v>
                </c:pt>
                <c:pt idx="1457">
                  <c:v>43025</c:v>
                </c:pt>
                <c:pt idx="1458">
                  <c:v>43026</c:v>
                </c:pt>
                <c:pt idx="1459">
                  <c:v>43027</c:v>
                </c:pt>
                <c:pt idx="1460">
                  <c:v>43028</c:v>
                </c:pt>
                <c:pt idx="1461">
                  <c:v>43031</c:v>
                </c:pt>
                <c:pt idx="1462">
                  <c:v>43032</c:v>
                </c:pt>
                <c:pt idx="1463">
                  <c:v>43033</c:v>
                </c:pt>
                <c:pt idx="1464">
                  <c:v>43034</c:v>
                </c:pt>
                <c:pt idx="1465">
                  <c:v>43035</c:v>
                </c:pt>
                <c:pt idx="1466">
                  <c:v>43038</c:v>
                </c:pt>
                <c:pt idx="1467">
                  <c:v>43039</c:v>
                </c:pt>
                <c:pt idx="1468">
                  <c:v>43040</c:v>
                </c:pt>
                <c:pt idx="1469">
                  <c:v>43041</c:v>
                </c:pt>
                <c:pt idx="1470">
                  <c:v>43042</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3</c:v>
                </c:pt>
                <c:pt idx="1511">
                  <c:v>43104</c:v>
                </c:pt>
                <c:pt idx="1512">
                  <c:v>43105</c:v>
                </c:pt>
                <c:pt idx="1513">
                  <c:v>43109</c:v>
                </c:pt>
                <c:pt idx="1514">
                  <c:v>43110</c:v>
                </c:pt>
                <c:pt idx="1515">
                  <c:v>43111</c:v>
                </c:pt>
                <c:pt idx="1516">
                  <c:v>43112</c:v>
                </c:pt>
                <c:pt idx="1517">
                  <c:v>43115</c:v>
                </c:pt>
                <c:pt idx="1518">
                  <c:v>43116</c:v>
                </c:pt>
                <c:pt idx="1519">
                  <c:v>43117</c:v>
                </c:pt>
                <c:pt idx="1520">
                  <c:v>43118</c:v>
                </c:pt>
                <c:pt idx="1521">
                  <c:v>43119</c:v>
                </c:pt>
                <c:pt idx="1522">
                  <c:v>43122</c:v>
                </c:pt>
                <c:pt idx="1523">
                  <c:v>43123</c:v>
                </c:pt>
                <c:pt idx="1524">
                  <c:v>43124</c:v>
                </c:pt>
                <c:pt idx="1525">
                  <c:v>43125</c:v>
                </c:pt>
                <c:pt idx="1526">
                  <c:v>43126</c:v>
                </c:pt>
                <c:pt idx="1527">
                  <c:v>43129</c:v>
                </c:pt>
                <c:pt idx="1528">
                  <c:v>43130</c:v>
                </c:pt>
                <c:pt idx="1529">
                  <c:v>43131</c:v>
                </c:pt>
                <c:pt idx="1530">
                  <c:v>43132</c:v>
                </c:pt>
                <c:pt idx="1531">
                  <c:v>43133</c:v>
                </c:pt>
                <c:pt idx="1532">
                  <c:v>43136</c:v>
                </c:pt>
                <c:pt idx="1533">
                  <c:v>43137</c:v>
                </c:pt>
                <c:pt idx="1534">
                  <c:v>43138</c:v>
                </c:pt>
                <c:pt idx="1535">
                  <c:v>43139</c:v>
                </c:pt>
                <c:pt idx="1536">
                  <c:v>43140</c:v>
                </c:pt>
                <c:pt idx="1537">
                  <c:v>43143</c:v>
                </c:pt>
                <c:pt idx="1538">
                  <c:v>43144</c:v>
                </c:pt>
                <c:pt idx="1539">
                  <c:v>43145</c:v>
                </c:pt>
                <c:pt idx="1540">
                  <c:v>43146</c:v>
                </c:pt>
                <c:pt idx="1541">
                  <c:v>43147</c:v>
                </c:pt>
                <c:pt idx="1542">
                  <c:v>43150</c:v>
                </c:pt>
                <c:pt idx="1543">
                  <c:v>43151</c:v>
                </c:pt>
                <c:pt idx="1544">
                  <c:v>43152</c:v>
                </c:pt>
                <c:pt idx="1545">
                  <c:v>43153</c:v>
                </c:pt>
                <c:pt idx="1546">
                  <c:v>43157</c:v>
                </c:pt>
                <c:pt idx="1547">
                  <c:v>43158</c:v>
                </c:pt>
                <c:pt idx="1548">
                  <c:v>43159</c:v>
                </c:pt>
                <c:pt idx="1549">
                  <c:v>43160</c:v>
                </c:pt>
                <c:pt idx="1550">
                  <c:v>43161</c:v>
                </c:pt>
                <c:pt idx="1551">
                  <c:v>43164</c:v>
                </c:pt>
                <c:pt idx="1552">
                  <c:v>43165</c:v>
                </c:pt>
                <c:pt idx="1553">
                  <c:v>43166</c:v>
                </c:pt>
                <c:pt idx="1554">
                  <c:v>43168</c:v>
                </c:pt>
                <c:pt idx="1555">
                  <c:v>43171</c:v>
                </c:pt>
                <c:pt idx="1556">
                  <c:v>43172</c:v>
                </c:pt>
                <c:pt idx="1557">
                  <c:v>43173</c:v>
                </c:pt>
                <c:pt idx="1558">
                  <c:v>43174</c:v>
                </c:pt>
                <c:pt idx="1559">
                  <c:v>43175</c:v>
                </c:pt>
                <c:pt idx="1560">
                  <c:v>43178</c:v>
                </c:pt>
                <c:pt idx="1561">
                  <c:v>43179</c:v>
                </c:pt>
                <c:pt idx="1562">
                  <c:v>43180</c:v>
                </c:pt>
                <c:pt idx="1563">
                  <c:v>43181</c:v>
                </c:pt>
                <c:pt idx="1564">
                  <c:v>43182</c:v>
                </c:pt>
                <c:pt idx="1565">
                  <c:v>43185</c:v>
                </c:pt>
                <c:pt idx="1566">
                  <c:v>43186</c:v>
                </c:pt>
                <c:pt idx="1567">
                  <c:v>43187</c:v>
                </c:pt>
                <c:pt idx="1568">
                  <c:v>43188</c:v>
                </c:pt>
                <c:pt idx="1569">
                  <c:v>43189</c:v>
                </c:pt>
                <c:pt idx="1570">
                  <c:v>43192</c:v>
                </c:pt>
                <c:pt idx="1571">
                  <c:v>43193</c:v>
                </c:pt>
                <c:pt idx="1572">
                  <c:v>43194</c:v>
                </c:pt>
                <c:pt idx="1573">
                  <c:v>43195</c:v>
                </c:pt>
                <c:pt idx="1574">
                  <c:v>43196</c:v>
                </c:pt>
                <c:pt idx="1575">
                  <c:v>43199</c:v>
                </c:pt>
                <c:pt idx="1576">
                  <c:v>43200</c:v>
                </c:pt>
                <c:pt idx="1577">
                  <c:v>43201</c:v>
                </c:pt>
                <c:pt idx="1578">
                  <c:v>43202</c:v>
                </c:pt>
                <c:pt idx="1579">
                  <c:v>43203</c:v>
                </c:pt>
                <c:pt idx="1580">
                  <c:v>43206</c:v>
                </c:pt>
                <c:pt idx="1581">
                  <c:v>43207</c:v>
                </c:pt>
                <c:pt idx="1582">
                  <c:v>43208</c:v>
                </c:pt>
                <c:pt idx="1583">
                  <c:v>43209</c:v>
                </c:pt>
                <c:pt idx="1584">
                  <c:v>43210</c:v>
                </c:pt>
                <c:pt idx="1585">
                  <c:v>43213</c:v>
                </c:pt>
                <c:pt idx="1586">
                  <c:v>43214</c:v>
                </c:pt>
                <c:pt idx="1587">
                  <c:v>43215</c:v>
                </c:pt>
                <c:pt idx="1588">
                  <c:v>43216</c:v>
                </c:pt>
                <c:pt idx="1589">
                  <c:v>43217</c:v>
                </c:pt>
                <c:pt idx="1590">
                  <c:v>43218</c:v>
                </c:pt>
                <c:pt idx="1591">
                  <c:v>43220</c:v>
                </c:pt>
                <c:pt idx="1592">
                  <c:v>43222</c:v>
                </c:pt>
                <c:pt idx="1593">
                  <c:v>43223</c:v>
                </c:pt>
                <c:pt idx="1594">
                  <c:v>43224</c:v>
                </c:pt>
                <c:pt idx="1595">
                  <c:v>43227</c:v>
                </c:pt>
                <c:pt idx="1596">
                  <c:v>43228</c:v>
                </c:pt>
                <c:pt idx="1597">
                  <c:v>43230</c:v>
                </c:pt>
                <c:pt idx="1598">
                  <c:v>43231</c:v>
                </c:pt>
                <c:pt idx="1599">
                  <c:v>43234</c:v>
                </c:pt>
                <c:pt idx="1600">
                  <c:v>43235</c:v>
                </c:pt>
                <c:pt idx="1601">
                  <c:v>43236</c:v>
                </c:pt>
                <c:pt idx="1602">
                  <c:v>43237</c:v>
                </c:pt>
                <c:pt idx="1603">
                  <c:v>43238</c:v>
                </c:pt>
                <c:pt idx="1604">
                  <c:v>43241</c:v>
                </c:pt>
                <c:pt idx="1605">
                  <c:v>43242</c:v>
                </c:pt>
                <c:pt idx="1606">
                  <c:v>43243</c:v>
                </c:pt>
                <c:pt idx="1607">
                  <c:v>43244</c:v>
                </c:pt>
                <c:pt idx="1608">
                  <c:v>43245</c:v>
                </c:pt>
                <c:pt idx="1609">
                  <c:v>43248</c:v>
                </c:pt>
                <c:pt idx="1610">
                  <c:v>43249</c:v>
                </c:pt>
                <c:pt idx="1611">
                  <c:v>43250</c:v>
                </c:pt>
                <c:pt idx="1612">
                  <c:v>43251</c:v>
                </c:pt>
                <c:pt idx="1613">
                  <c:v>43252</c:v>
                </c:pt>
                <c:pt idx="1614">
                  <c:v>43255</c:v>
                </c:pt>
                <c:pt idx="1615">
                  <c:v>43256</c:v>
                </c:pt>
                <c:pt idx="1616">
                  <c:v>43257</c:v>
                </c:pt>
                <c:pt idx="1617">
                  <c:v>43258</c:v>
                </c:pt>
                <c:pt idx="1618">
                  <c:v>43259</c:v>
                </c:pt>
                <c:pt idx="1619">
                  <c:v>43260</c:v>
                </c:pt>
                <c:pt idx="1620">
                  <c:v>43262</c:v>
                </c:pt>
                <c:pt idx="1621">
                  <c:v>43264</c:v>
                </c:pt>
                <c:pt idx="1622">
                  <c:v>43265</c:v>
                </c:pt>
                <c:pt idx="1623">
                  <c:v>43266</c:v>
                </c:pt>
                <c:pt idx="1624">
                  <c:v>43269</c:v>
                </c:pt>
                <c:pt idx="1625">
                  <c:v>43270</c:v>
                </c:pt>
                <c:pt idx="1626">
                  <c:v>43271</c:v>
                </c:pt>
                <c:pt idx="1627">
                  <c:v>43272</c:v>
                </c:pt>
                <c:pt idx="1628">
                  <c:v>43273</c:v>
                </c:pt>
                <c:pt idx="1629">
                  <c:v>43276</c:v>
                </c:pt>
                <c:pt idx="1630">
                  <c:v>43277</c:v>
                </c:pt>
                <c:pt idx="1631">
                  <c:v>43278</c:v>
                </c:pt>
                <c:pt idx="1632">
                  <c:v>43279</c:v>
                </c:pt>
                <c:pt idx="1633">
                  <c:v>43280</c:v>
                </c:pt>
                <c:pt idx="1634">
                  <c:v>43283</c:v>
                </c:pt>
                <c:pt idx="1635">
                  <c:v>43284</c:v>
                </c:pt>
                <c:pt idx="1636">
                  <c:v>43285</c:v>
                </c:pt>
                <c:pt idx="1637">
                  <c:v>43286</c:v>
                </c:pt>
                <c:pt idx="1638">
                  <c:v>43287</c:v>
                </c:pt>
                <c:pt idx="1639">
                  <c:v>43290</c:v>
                </c:pt>
                <c:pt idx="1640">
                  <c:v>43291</c:v>
                </c:pt>
                <c:pt idx="1641">
                  <c:v>43292</c:v>
                </c:pt>
                <c:pt idx="1642">
                  <c:v>43293</c:v>
                </c:pt>
                <c:pt idx="1643">
                  <c:v>43294</c:v>
                </c:pt>
                <c:pt idx="1644">
                  <c:v>43297</c:v>
                </c:pt>
                <c:pt idx="1645">
                  <c:v>43298</c:v>
                </c:pt>
                <c:pt idx="1646">
                  <c:v>43299</c:v>
                </c:pt>
                <c:pt idx="1647">
                  <c:v>43300</c:v>
                </c:pt>
                <c:pt idx="1648">
                  <c:v>43301</c:v>
                </c:pt>
                <c:pt idx="1649">
                  <c:v>43304</c:v>
                </c:pt>
                <c:pt idx="1650">
                  <c:v>43305</c:v>
                </c:pt>
                <c:pt idx="1651">
                  <c:v>43306</c:v>
                </c:pt>
                <c:pt idx="1652">
                  <c:v>43307</c:v>
                </c:pt>
                <c:pt idx="1653">
                  <c:v>43308</c:v>
                </c:pt>
                <c:pt idx="1654">
                  <c:v>43311</c:v>
                </c:pt>
                <c:pt idx="1655">
                  <c:v>43312</c:v>
                </c:pt>
                <c:pt idx="1656">
                  <c:v>43313</c:v>
                </c:pt>
                <c:pt idx="1657">
                  <c:v>43314</c:v>
                </c:pt>
                <c:pt idx="1658">
                  <c:v>43315</c:v>
                </c:pt>
                <c:pt idx="1659">
                  <c:v>43318</c:v>
                </c:pt>
                <c:pt idx="1660">
                  <c:v>43319</c:v>
                </c:pt>
                <c:pt idx="1661">
                  <c:v>43320</c:v>
                </c:pt>
                <c:pt idx="1662">
                  <c:v>43321</c:v>
                </c:pt>
                <c:pt idx="1663">
                  <c:v>43322</c:v>
                </c:pt>
                <c:pt idx="1664">
                  <c:v>43325</c:v>
                </c:pt>
                <c:pt idx="1665">
                  <c:v>43326</c:v>
                </c:pt>
                <c:pt idx="1666">
                  <c:v>43327</c:v>
                </c:pt>
                <c:pt idx="1667">
                  <c:v>43328</c:v>
                </c:pt>
                <c:pt idx="1668">
                  <c:v>43329</c:v>
                </c:pt>
                <c:pt idx="1669">
                  <c:v>43332</c:v>
                </c:pt>
                <c:pt idx="1670">
                  <c:v>43333</c:v>
                </c:pt>
                <c:pt idx="1671">
                  <c:v>43334</c:v>
                </c:pt>
                <c:pt idx="1672">
                  <c:v>43335</c:v>
                </c:pt>
                <c:pt idx="1673">
                  <c:v>43336</c:v>
                </c:pt>
                <c:pt idx="1674">
                  <c:v>43339</c:v>
                </c:pt>
                <c:pt idx="1675">
                  <c:v>43340</c:v>
                </c:pt>
                <c:pt idx="1676">
                  <c:v>43341</c:v>
                </c:pt>
                <c:pt idx="1677">
                  <c:v>43342</c:v>
                </c:pt>
                <c:pt idx="1678">
                  <c:v>43343</c:v>
                </c:pt>
                <c:pt idx="1679">
                  <c:v>43346</c:v>
                </c:pt>
                <c:pt idx="1680">
                  <c:v>43347</c:v>
                </c:pt>
                <c:pt idx="1681">
                  <c:v>43348</c:v>
                </c:pt>
                <c:pt idx="1682">
                  <c:v>43349</c:v>
                </c:pt>
                <c:pt idx="1683">
                  <c:v>43350</c:v>
                </c:pt>
                <c:pt idx="1684">
                  <c:v>43353</c:v>
                </c:pt>
                <c:pt idx="1685">
                  <c:v>43354</c:v>
                </c:pt>
                <c:pt idx="1686">
                  <c:v>43355</c:v>
                </c:pt>
                <c:pt idx="1687">
                  <c:v>43356</c:v>
                </c:pt>
                <c:pt idx="1688">
                  <c:v>43357</c:v>
                </c:pt>
                <c:pt idx="1689">
                  <c:v>43360</c:v>
                </c:pt>
                <c:pt idx="1690">
                  <c:v>43361</c:v>
                </c:pt>
                <c:pt idx="1691">
                  <c:v>43362</c:v>
                </c:pt>
                <c:pt idx="1692">
                  <c:v>43363</c:v>
                </c:pt>
                <c:pt idx="1693">
                  <c:v>43364</c:v>
                </c:pt>
                <c:pt idx="1694">
                  <c:v>43367</c:v>
                </c:pt>
                <c:pt idx="1695">
                  <c:v>43368</c:v>
                </c:pt>
                <c:pt idx="1696">
                  <c:v>43369</c:v>
                </c:pt>
                <c:pt idx="1697">
                  <c:v>43370</c:v>
                </c:pt>
                <c:pt idx="1698">
                  <c:v>43371</c:v>
                </c:pt>
                <c:pt idx="1699">
                  <c:v>43374</c:v>
                </c:pt>
                <c:pt idx="1700">
                  <c:v>43375</c:v>
                </c:pt>
                <c:pt idx="1701">
                  <c:v>43376</c:v>
                </c:pt>
                <c:pt idx="1702">
                  <c:v>43377</c:v>
                </c:pt>
                <c:pt idx="1703">
                  <c:v>43378</c:v>
                </c:pt>
                <c:pt idx="1704">
                  <c:v>43381</c:v>
                </c:pt>
                <c:pt idx="1705">
                  <c:v>43382</c:v>
                </c:pt>
                <c:pt idx="1706">
                  <c:v>43383</c:v>
                </c:pt>
                <c:pt idx="1707">
                  <c:v>43384</c:v>
                </c:pt>
                <c:pt idx="1708">
                  <c:v>43385</c:v>
                </c:pt>
                <c:pt idx="1709">
                  <c:v>43388</c:v>
                </c:pt>
                <c:pt idx="1710">
                  <c:v>43389</c:v>
                </c:pt>
                <c:pt idx="1711">
                  <c:v>43390</c:v>
                </c:pt>
                <c:pt idx="1712">
                  <c:v>43391</c:v>
                </c:pt>
                <c:pt idx="1713">
                  <c:v>43392</c:v>
                </c:pt>
                <c:pt idx="1714">
                  <c:v>43395</c:v>
                </c:pt>
                <c:pt idx="1715">
                  <c:v>43396</c:v>
                </c:pt>
                <c:pt idx="1716">
                  <c:v>43397</c:v>
                </c:pt>
                <c:pt idx="1717">
                  <c:v>43398</c:v>
                </c:pt>
                <c:pt idx="1718">
                  <c:v>43399</c:v>
                </c:pt>
                <c:pt idx="1719">
                  <c:v>43402</c:v>
                </c:pt>
                <c:pt idx="1720">
                  <c:v>43403</c:v>
                </c:pt>
                <c:pt idx="1721">
                  <c:v>43404</c:v>
                </c:pt>
                <c:pt idx="1722">
                  <c:v>43405</c:v>
                </c:pt>
                <c:pt idx="1723">
                  <c:v>43406</c:v>
                </c:pt>
                <c:pt idx="1724">
                  <c:v>43410</c:v>
                </c:pt>
                <c:pt idx="1725">
                  <c:v>43411</c:v>
                </c:pt>
                <c:pt idx="1726">
                  <c:v>43412</c:v>
                </c:pt>
                <c:pt idx="1727">
                  <c:v>43413</c:v>
                </c:pt>
                <c:pt idx="1728">
                  <c:v>43416</c:v>
                </c:pt>
                <c:pt idx="1729">
                  <c:v>43417</c:v>
                </c:pt>
                <c:pt idx="1730">
                  <c:v>43418</c:v>
                </c:pt>
                <c:pt idx="1731">
                  <c:v>43419</c:v>
                </c:pt>
                <c:pt idx="1732">
                  <c:v>43420</c:v>
                </c:pt>
                <c:pt idx="1733">
                  <c:v>43423</c:v>
                </c:pt>
                <c:pt idx="1734">
                  <c:v>43424</c:v>
                </c:pt>
                <c:pt idx="1735">
                  <c:v>43425</c:v>
                </c:pt>
                <c:pt idx="1736">
                  <c:v>43426</c:v>
                </c:pt>
                <c:pt idx="1737">
                  <c:v>43427</c:v>
                </c:pt>
                <c:pt idx="1738">
                  <c:v>43430</c:v>
                </c:pt>
                <c:pt idx="1739">
                  <c:v>43431</c:v>
                </c:pt>
                <c:pt idx="1740">
                  <c:v>43432</c:v>
                </c:pt>
                <c:pt idx="1741">
                  <c:v>43433</c:v>
                </c:pt>
                <c:pt idx="1742">
                  <c:v>43434</c:v>
                </c:pt>
                <c:pt idx="1743">
                  <c:v>43437</c:v>
                </c:pt>
              </c:numCache>
            </c:numRef>
          </c:cat>
          <c:val>
            <c:numRef>
              <c:f>значения!$H$2:$H$1745</c:f>
              <c:numCache>
                <c:formatCode>0.00%</c:formatCode>
                <c:ptCount val="1744"/>
                <c:pt idx="0">
                  <c:v>1</c:v>
                </c:pt>
                <c:pt idx="1">
                  <c:v>1.0405985196644412</c:v>
                </c:pt>
                <c:pt idx="2">
                  <c:v>1.0437064393269282</c:v>
                </c:pt>
                <c:pt idx="3">
                  <c:v>1.0346586420166151</c:v>
                </c:pt>
                <c:pt idx="4">
                  <c:v>1.039388901479062</c:v>
                </c:pt>
                <c:pt idx="5">
                  <c:v>1.0426108059861889</c:v>
                </c:pt>
                <c:pt idx="6">
                  <c:v>1.0592229486227449</c:v>
                </c:pt>
                <c:pt idx="7">
                  <c:v>1.0490977908810184</c:v>
                </c:pt>
                <c:pt idx="8">
                  <c:v>1.0510693576997858</c:v>
                </c:pt>
                <c:pt idx="9">
                  <c:v>1.0475927074540328</c:v>
                </c:pt>
                <c:pt idx="10">
                  <c:v>1.0500628973725983</c:v>
                </c:pt>
                <c:pt idx="11">
                  <c:v>1.0666304416748762</c:v>
                </c:pt>
                <c:pt idx="12">
                  <c:v>1.0699542223458238</c:v>
                </c:pt>
                <c:pt idx="13">
                  <c:v>1.0771692087007958</c:v>
                </c:pt>
                <c:pt idx="14">
                  <c:v>1.0750262366320014</c:v>
                </c:pt>
                <c:pt idx="15">
                  <c:v>1.0797240677038096</c:v>
                </c:pt>
                <c:pt idx="16">
                  <c:v>1.0694851918811792</c:v>
                </c:pt>
                <c:pt idx="17">
                  <c:v>1.078339614610871</c:v>
                </c:pt>
                <c:pt idx="18">
                  <c:v>1.0967318997178077</c:v>
                </c:pt>
                <c:pt idx="19">
                  <c:v>1.0937017107962077</c:v>
                </c:pt>
                <c:pt idx="20">
                  <c:v>1.0800994114586742</c:v>
                </c:pt>
                <c:pt idx="21">
                  <c:v>1.0980922091723568</c:v>
                </c:pt>
                <c:pt idx="22">
                  <c:v>1.1152287788966024</c:v>
                </c:pt>
                <c:pt idx="23">
                  <c:v>1.1128863126017683</c:v>
                </c:pt>
                <c:pt idx="24">
                  <c:v>1.1327511827041439</c:v>
                </c:pt>
                <c:pt idx="25">
                  <c:v>1.1351370162474324</c:v>
                </c:pt>
                <c:pt idx="26">
                  <c:v>1.1272209393015522</c:v>
                </c:pt>
                <c:pt idx="27">
                  <c:v>1.1351473441706101</c:v>
                </c:pt>
                <c:pt idx="28">
                  <c:v>1.1302947659522722</c:v>
                </c:pt>
                <c:pt idx="29">
                  <c:v>1.1140671618376792</c:v>
                </c:pt>
                <c:pt idx="30">
                  <c:v>1.1455029952632059</c:v>
                </c:pt>
                <c:pt idx="31">
                  <c:v>1.147649562312921</c:v>
                </c:pt>
                <c:pt idx="32">
                  <c:v>1.1602780772180077</c:v>
                </c:pt>
                <c:pt idx="33">
                  <c:v>1.1527463830646052</c:v>
                </c:pt>
                <c:pt idx="34">
                  <c:v>1.1529322340068084</c:v>
                </c:pt>
                <c:pt idx="35">
                  <c:v>1.1595958484118387</c:v>
                </c:pt>
                <c:pt idx="36">
                  <c:v>1.1428902770339044</c:v>
                </c:pt>
                <c:pt idx="37">
                  <c:v>1.1294438355977987</c:v>
                </c:pt>
                <c:pt idx="38">
                  <c:v>1.1595813033697011</c:v>
                </c:pt>
                <c:pt idx="39">
                  <c:v>1.1571718585248427</c:v>
                </c:pt>
                <c:pt idx="40">
                  <c:v>1.1458832447171581</c:v>
                </c:pt>
                <c:pt idx="41">
                  <c:v>1.1613296786507588</c:v>
                </c:pt>
                <c:pt idx="42">
                  <c:v>1.1621733836322956</c:v>
                </c:pt>
                <c:pt idx="43">
                  <c:v>1.165243623703168</c:v>
                </c:pt>
                <c:pt idx="44">
                  <c:v>1.1760656687601525</c:v>
                </c:pt>
                <c:pt idx="45">
                  <c:v>1.1313873810982475</c:v>
                </c:pt>
                <c:pt idx="46">
                  <c:v>1.1381233180463188</c:v>
                </c:pt>
                <c:pt idx="47">
                  <c:v>1.1577792491555292</c:v>
                </c:pt>
                <c:pt idx="48">
                  <c:v>1.1537798930855399</c:v>
                </c:pt>
                <c:pt idx="49">
                  <c:v>1.1591662270912537</c:v>
                </c:pt>
                <c:pt idx="50">
                  <c:v>1.1695492601380471</c:v>
                </c:pt>
                <c:pt idx="51">
                  <c:v>1.1679066180844826</c:v>
                </c:pt>
                <c:pt idx="52">
                  <c:v>1.1598197242207873</c:v>
                </c:pt>
                <c:pt idx="53">
                  <c:v>1.141740792422854</c:v>
                </c:pt>
                <c:pt idx="54">
                  <c:v>1.1240071000341074</c:v>
                </c:pt>
                <c:pt idx="55">
                  <c:v>1.1176191366038477</c:v>
                </c:pt>
                <c:pt idx="56">
                  <c:v>1.1034471535299613</c:v>
                </c:pt>
                <c:pt idx="57">
                  <c:v>1.108263465972871</c:v>
                </c:pt>
                <c:pt idx="58">
                  <c:v>1.0812291391627864</c:v>
                </c:pt>
                <c:pt idx="59">
                  <c:v>1.0771015693219002</c:v>
                </c:pt>
                <c:pt idx="60">
                  <c:v>1.0602430720577278</c:v>
                </c:pt>
                <c:pt idx="61">
                  <c:v>1.0383730000320357</c:v>
                </c:pt>
                <c:pt idx="62">
                  <c:v>1.0532644556129902</c:v>
                </c:pt>
                <c:pt idx="63">
                  <c:v>1.0566110227063312</c:v>
                </c:pt>
                <c:pt idx="64">
                  <c:v>1.0684801344460573</c:v>
                </c:pt>
                <c:pt idx="65">
                  <c:v>1.0478093715270214</c:v>
                </c:pt>
                <c:pt idx="66">
                  <c:v>1.0492764615046926</c:v>
                </c:pt>
                <c:pt idx="67">
                  <c:v>1.0382717996570718</c:v>
                </c:pt>
                <c:pt idx="68">
                  <c:v>1.0468710603763387</c:v>
                </c:pt>
                <c:pt idx="69">
                  <c:v>1.0415654064049995</c:v>
                </c:pt>
                <c:pt idx="70">
                  <c:v>1.0445819616513132</c:v>
                </c:pt>
                <c:pt idx="71">
                  <c:v>1.0390073443203904</c:v>
                </c:pt>
                <c:pt idx="72">
                  <c:v>1.0422295520894225</c:v>
                </c:pt>
                <c:pt idx="73">
                  <c:v>1.0295805363162336</c:v>
                </c:pt>
                <c:pt idx="74">
                  <c:v>1.0247053546065121</c:v>
                </c:pt>
                <c:pt idx="75">
                  <c:v>1.0220654056512286</c:v>
                </c:pt>
                <c:pt idx="76">
                  <c:v>1.0423053580715642</c:v>
                </c:pt>
                <c:pt idx="77">
                  <c:v>1.0474036455097253</c:v>
                </c:pt>
                <c:pt idx="78">
                  <c:v>1.0247136030954374</c:v>
                </c:pt>
                <c:pt idx="79">
                  <c:v>1.0155152458873868</c:v>
                </c:pt>
                <c:pt idx="80">
                  <c:v>1.0182371427903067</c:v>
                </c:pt>
                <c:pt idx="81">
                  <c:v>1.0060447561081622</c:v>
                </c:pt>
                <c:pt idx="82">
                  <c:v>1.0159557730283317</c:v>
                </c:pt>
                <c:pt idx="83">
                  <c:v>1.0198664011909739</c:v>
                </c:pt>
                <c:pt idx="84">
                  <c:v>1.0062935475380237</c:v>
                </c:pt>
                <c:pt idx="85">
                  <c:v>1.0001309344402178</c:v>
                </c:pt>
                <c:pt idx="86">
                  <c:v>0.96027684188381635</c:v>
                </c:pt>
                <c:pt idx="87">
                  <c:v>0.95464044695068018</c:v>
                </c:pt>
                <c:pt idx="88">
                  <c:v>0.94711508283729795</c:v>
                </c:pt>
                <c:pt idx="89">
                  <c:v>0.95161115206009095</c:v>
                </c:pt>
                <c:pt idx="90">
                  <c:v>0.96512232273502574</c:v>
                </c:pt>
                <c:pt idx="91">
                  <c:v>0.95491063632196926</c:v>
                </c:pt>
                <c:pt idx="92">
                  <c:v>0.95474758279855854</c:v>
                </c:pt>
                <c:pt idx="93">
                  <c:v>0.92674353637123996</c:v>
                </c:pt>
                <c:pt idx="94">
                  <c:v>0.93011434182803199</c:v>
                </c:pt>
                <c:pt idx="95">
                  <c:v>0.92572145067315093</c:v>
                </c:pt>
                <c:pt idx="96">
                  <c:v>0.89798321496711853</c:v>
                </c:pt>
                <c:pt idx="97">
                  <c:v>0.89459147186378107</c:v>
                </c:pt>
                <c:pt idx="98">
                  <c:v>0.91435006500878357</c:v>
                </c:pt>
                <c:pt idx="99">
                  <c:v>0.91353838475992788</c:v>
                </c:pt>
                <c:pt idx="100">
                  <c:v>0.88469565511711323</c:v>
                </c:pt>
                <c:pt idx="101">
                  <c:v>0.89490841577234381</c:v>
                </c:pt>
                <c:pt idx="102">
                  <c:v>0.9019307554040854</c:v>
                </c:pt>
                <c:pt idx="103">
                  <c:v>0.90403871134664804</c:v>
                </c:pt>
                <c:pt idx="104">
                  <c:v>0.93057223594384542</c:v>
                </c:pt>
                <c:pt idx="105">
                  <c:v>0.91718709690095168</c:v>
                </c:pt>
                <c:pt idx="106">
                  <c:v>0.91974871619325282</c:v>
                </c:pt>
                <c:pt idx="107">
                  <c:v>0.90219883939030199</c:v>
                </c:pt>
                <c:pt idx="108">
                  <c:v>0.90949998227828288</c:v>
                </c:pt>
                <c:pt idx="109">
                  <c:v>0.91211389152278566</c:v>
                </c:pt>
                <c:pt idx="110">
                  <c:v>0.9249489278498676</c:v>
                </c:pt>
                <c:pt idx="111">
                  <c:v>0.94348174164263221</c:v>
                </c:pt>
                <c:pt idx="112">
                  <c:v>0.94045366710437928</c:v>
                </c:pt>
                <c:pt idx="113">
                  <c:v>0.94316455663864607</c:v>
                </c:pt>
                <c:pt idx="114">
                  <c:v>0.94710472573437499</c:v>
                </c:pt>
                <c:pt idx="115">
                  <c:v>0.9447336755381277</c:v>
                </c:pt>
                <c:pt idx="116">
                  <c:v>0.95751443898718192</c:v>
                </c:pt>
                <c:pt idx="117">
                  <c:v>0.96598427421968391</c:v>
                </c:pt>
                <c:pt idx="118">
                  <c:v>0.96434265680522768</c:v>
                </c:pt>
                <c:pt idx="119">
                  <c:v>0.94664255961794208</c:v>
                </c:pt>
                <c:pt idx="120">
                  <c:v>0.94460232339094874</c:v>
                </c:pt>
                <c:pt idx="121">
                  <c:v>0.93337275200463565</c:v>
                </c:pt>
                <c:pt idx="122">
                  <c:v>0.92270222367212928</c:v>
                </c:pt>
                <c:pt idx="123">
                  <c:v>0.93206119354437633</c:v>
                </c:pt>
                <c:pt idx="124">
                  <c:v>0.94148967817818352</c:v>
                </c:pt>
                <c:pt idx="125">
                  <c:v>0.92475476753194308</c:v>
                </c:pt>
                <c:pt idx="126">
                  <c:v>0.95291956927114163</c:v>
                </c:pt>
                <c:pt idx="127">
                  <c:v>0.96368848789164141</c:v>
                </c:pt>
                <c:pt idx="128">
                  <c:v>0.98434181294125578</c:v>
                </c:pt>
                <c:pt idx="129">
                  <c:v>0.98417590243286135</c:v>
                </c:pt>
                <c:pt idx="130">
                  <c:v>0.97662981117037495</c:v>
                </c:pt>
                <c:pt idx="131">
                  <c:v>0.96277938513204386</c:v>
                </c:pt>
                <c:pt idx="132">
                  <c:v>0.96219961765223749</c:v>
                </c:pt>
                <c:pt idx="133">
                  <c:v>0.96899085725113687</c:v>
                </c:pt>
                <c:pt idx="134">
                  <c:v>0.95858013908112194</c:v>
                </c:pt>
                <c:pt idx="135">
                  <c:v>0.94957245140890945</c:v>
                </c:pt>
                <c:pt idx="136">
                  <c:v>0.9632107101094608</c:v>
                </c:pt>
                <c:pt idx="137">
                  <c:v>0.96786694799093154</c:v>
                </c:pt>
                <c:pt idx="138">
                  <c:v>0.97575684210300606</c:v>
                </c:pt>
                <c:pt idx="139">
                  <c:v>0.97050784833519865</c:v>
                </c:pt>
                <c:pt idx="140">
                  <c:v>0.97963448460629077</c:v>
                </c:pt>
                <c:pt idx="141">
                  <c:v>0.96707909034921524</c:v>
                </c:pt>
                <c:pt idx="142">
                  <c:v>0.93557506678286773</c:v>
                </c:pt>
                <c:pt idx="143">
                  <c:v>0.93083300597290108</c:v>
                </c:pt>
                <c:pt idx="144">
                  <c:v>0.93613650589680253</c:v>
                </c:pt>
                <c:pt idx="145">
                  <c:v>0.94555657488387146</c:v>
                </c:pt>
                <c:pt idx="146">
                  <c:v>0.95941088742194935</c:v>
                </c:pt>
                <c:pt idx="147">
                  <c:v>0.96866729715187083</c:v>
                </c:pt>
                <c:pt idx="148">
                  <c:v>0.95874027799027273</c:v>
                </c:pt>
                <c:pt idx="149">
                  <c:v>0.96279551518107676</c:v>
                </c:pt>
                <c:pt idx="150">
                  <c:v>0.95186697671286591</c:v>
                </c:pt>
                <c:pt idx="151">
                  <c:v>0.96870847881388944</c:v>
                </c:pt>
                <c:pt idx="152">
                  <c:v>0.97993874085584609</c:v>
                </c:pt>
                <c:pt idx="153">
                  <c:v>0.99028210410748874</c:v>
                </c:pt>
                <c:pt idx="154">
                  <c:v>0.99108440253058316</c:v>
                </c:pt>
                <c:pt idx="155">
                  <c:v>0.99628704261516776</c:v>
                </c:pt>
                <c:pt idx="156">
                  <c:v>0.98676826113044958</c:v>
                </c:pt>
                <c:pt idx="157">
                  <c:v>0.98872072999943028</c:v>
                </c:pt>
                <c:pt idx="158">
                  <c:v>0.99619422134027502</c:v>
                </c:pt>
                <c:pt idx="159">
                  <c:v>0.98740014612951343</c:v>
                </c:pt>
                <c:pt idx="160">
                  <c:v>0.99095928443386494</c:v>
                </c:pt>
                <c:pt idx="161">
                  <c:v>0.98903564608829975</c:v>
                </c:pt>
                <c:pt idx="162">
                  <c:v>0.97888937777028506</c:v>
                </c:pt>
                <c:pt idx="163">
                  <c:v>0.99182038307194942</c:v>
                </c:pt>
                <c:pt idx="164">
                  <c:v>0.98671750459127805</c:v>
                </c:pt>
                <c:pt idx="165">
                  <c:v>0.9887813421546946</c:v>
                </c:pt>
                <c:pt idx="166">
                  <c:v>0.98484889115616936</c:v>
                </c:pt>
                <c:pt idx="167">
                  <c:v>0.98340497471800414</c:v>
                </c:pt>
                <c:pt idx="168">
                  <c:v>0.98273302175576838</c:v>
                </c:pt>
                <c:pt idx="169">
                  <c:v>0.96830730493691963</c:v>
                </c:pt>
                <c:pt idx="170">
                  <c:v>0.95952773414819936</c:v>
                </c:pt>
                <c:pt idx="171">
                  <c:v>0.96221005220538225</c:v>
                </c:pt>
                <c:pt idx="172">
                  <c:v>0.97369703764648452</c:v>
                </c:pt>
                <c:pt idx="173">
                  <c:v>0.97549162598063099</c:v>
                </c:pt>
                <c:pt idx="174">
                  <c:v>0.96863803707890905</c:v>
                </c:pt>
                <c:pt idx="175">
                  <c:v>0.99089311035862448</c:v>
                </c:pt>
                <c:pt idx="176">
                  <c:v>1.0082247037131362</c:v>
                </c:pt>
                <c:pt idx="177">
                  <c:v>1.0174849026157866</c:v>
                </c:pt>
                <c:pt idx="178">
                  <c:v>1.0204694108349857</c:v>
                </c:pt>
                <c:pt idx="179">
                  <c:v>1.017883852610286</c:v>
                </c:pt>
                <c:pt idx="180">
                  <c:v>1.0127963978235475</c:v>
                </c:pt>
                <c:pt idx="181">
                  <c:v>1.0547139003571933</c:v>
                </c:pt>
                <c:pt idx="182">
                  <c:v>1.055916542866731</c:v>
                </c:pt>
                <c:pt idx="183">
                  <c:v>1.0479279129262278</c:v>
                </c:pt>
                <c:pt idx="184">
                  <c:v>1.0424365186079161</c:v>
                </c:pt>
                <c:pt idx="185">
                  <c:v>1.0418286954563976</c:v>
                </c:pt>
                <c:pt idx="186">
                  <c:v>1.0384726078045556</c:v>
                </c:pt>
                <c:pt idx="187">
                  <c:v>1.0338594304647937</c:v>
                </c:pt>
                <c:pt idx="188">
                  <c:v>1.0292858034605359</c:v>
                </c:pt>
                <c:pt idx="189">
                  <c:v>1.00187614146605</c:v>
                </c:pt>
                <c:pt idx="190">
                  <c:v>1.0098415552212507</c:v>
                </c:pt>
                <c:pt idx="191">
                  <c:v>1.0119218871577285</c:v>
                </c:pt>
                <c:pt idx="192">
                  <c:v>1.032020333629895</c:v>
                </c:pt>
                <c:pt idx="193">
                  <c:v>1.0265693054715037</c:v>
                </c:pt>
                <c:pt idx="194">
                  <c:v>1.0184953130996119</c:v>
                </c:pt>
                <c:pt idx="195">
                  <c:v>1.0093207358652811</c:v>
                </c:pt>
                <c:pt idx="196">
                  <c:v>1.0210651842043625</c:v>
                </c:pt>
                <c:pt idx="197">
                  <c:v>1.0175478211656563</c:v>
                </c:pt>
                <c:pt idx="198">
                  <c:v>1.0182358177027606</c:v>
                </c:pt>
                <c:pt idx="199">
                  <c:v>1.0083699667388211</c:v>
                </c:pt>
                <c:pt idx="200">
                  <c:v>1.0094281825049729</c:v>
                </c:pt>
                <c:pt idx="201">
                  <c:v>0.99703074079570531</c:v>
                </c:pt>
                <c:pt idx="202">
                  <c:v>0.99039060265479351</c:v>
                </c:pt>
                <c:pt idx="203">
                  <c:v>0.99375580395579444</c:v>
                </c:pt>
                <c:pt idx="204">
                  <c:v>1.0005415684194208</c:v>
                </c:pt>
                <c:pt idx="205">
                  <c:v>0.99871616585641931</c:v>
                </c:pt>
                <c:pt idx="206">
                  <c:v>0.99020032620723475</c:v>
                </c:pt>
                <c:pt idx="207">
                  <c:v>0.99712604720492093</c:v>
                </c:pt>
                <c:pt idx="208">
                  <c:v>0.98311988430691521</c:v>
                </c:pt>
                <c:pt idx="209">
                  <c:v>0.98149842783884378</c:v>
                </c:pt>
                <c:pt idx="210">
                  <c:v>0.97918525906191856</c:v>
                </c:pt>
                <c:pt idx="211">
                  <c:v>0.96948697665003136</c:v>
                </c:pt>
                <c:pt idx="212">
                  <c:v>0.96866563108962256</c:v>
                </c:pt>
                <c:pt idx="213">
                  <c:v>0.96348552897921813</c:v>
                </c:pt>
                <c:pt idx="214">
                  <c:v>0.97001391504833268</c:v>
                </c:pt>
                <c:pt idx="215">
                  <c:v>0.97654350113287414</c:v>
                </c:pt>
                <c:pt idx="216">
                  <c:v>0.98373756351535369</c:v>
                </c:pt>
                <c:pt idx="217">
                  <c:v>0.98781775758825063</c:v>
                </c:pt>
                <c:pt idx="218">
                  <c:v>0.97150462052765285</c:v>
                </c:pt>
                <c:pt idx="219">
                  <c:v>0.96051322719476462</c:v>
                </c:pt>
                <c:pt idx="220">
                  <c:v>0.95414902654345435</c:v>
                </c:pt>
                <c:pt idx="221">
                  <c:v>0.90884360378993057</c:v>
                </c:pt>
                <c:pt idx="222">
                  <c:v>0.94479266600774969</c:v>
                </c:pt>
                <c:pt idx="223">
                  <c:v>0.94581485278290967</c:v>
                </c:pt>
                <c:pt idx="224">
                  <c:v>0.95339124809983244</c:v>
                </c:pt>
                <c:pt idx="225">
                  <c:v>0.95130594228984633</c:v>
                </c:pt>
                <c:pt idx="226">
                  <c:v>0.96086575298376242</c:v>
                </c:pt>
                <c:pt idx="227">
                  <c:v>0.96010896780050681</c:v>
                </c:pt>
                <c:pt idx="228">
                  <c:v>0.96577585900350293</c:v>
                </c:pt>
                <c:pt idx="229">
                  <c:v>0.96668770523838565</c:v>
                </c:pt>
                <c:pt idx="230">
                  <c:v>0.97804079163517688</c:v>
                </c:pt>
                <c:pt idx="231">
                  <c:v>0.96846583244450457</c:v>
                </c:pt>
                <c:pt idx="232">
                  <c:v>0.96354488558098783</c:v>
                </c:pt>
                <c:pt idx="233">
                  <c:v>0.95283684581445383</c:v>
                </c:pt>
                <c:pt idx="234">
                  <c:v>0.95922820671885345</c:v>
                </c:pt>
                <c:pt idx="235">
                  <c:v>0.9652819484801124</c:v>
                </c:pt>
                <c:pt idx="236">
                  <c:v>0.97502621252099053</c:v>
                </c:pt>
                <c:pt idx="237">
                  <c:v>0.96722959383197293</c:v>
                </c:pt>
                <c:pt idx="238">
                  <c:v>0.98321936931490606</c:v>
                </c:pt>
                <c:pt idx="239">
                  <c:v>0.98371696443084111</c:v>
                </c:pt>
                <c:pt idx="240">
                  <c:v>0.98295384337469027</c:v>
                </c:pt>
                <c:pt idx="241">
                  <c:v>0.98771596944436302</c:v>
                </c:pt>
                <c:pt idx="242">
                  <c:v>0.99086110872239397</c:v>
                </c:pt>
                <c:pt idx="243">
                  <c:v>0.99803443758500898</c:v>
                </c:pt>
                <c:pt idx="244">
                  <c:v>0.99424258014540656</c:v>
                </c:pt>
                <c:pt idx="245">
                  <c:v>0.99578798629338805</c:v>
                </c:pt>
                <c:pt idx="246">
                  <c:v>1.0052602711101579</c:v>
                </c:pt>
                <c:pt idx="247">
                  <c:v>1.0073910659726819</c:v>
                </c:pt>
                <c:pt idx="248">
                  <c:v>1.0080855709092646</c:v>
                </c:pt>
                <c:pt idx="249">
                  <c:v>1.011779449817352</c:v>
                </c:pt>
                <c:pt idx="250">
                  <c:v>1.0097775496614552</c:v>
                </c:pt>
                <c:pt idx="251">
                  <c:v>1.0035391102535491</c:v>
                </c:pt>
                <c:pt idx="252">
                  <c:v>1.0094734322160834</c:v>
                </c:pt>
                <c:pt idx="253">
                  <c:v>1.0119399563214613</c:v>
                </c:pt>
                <c:pt idx="254">
                  <c:v>1.0123316061456713</c:v>
                </c:pt>
                <c:pt idx="255">
                  <c:v>1.0110823266549998</c:v>
                </c:pt>
                <c:pt idx="256">
                  <c:v>1.039947251518812</c:v>
                </c:pt>
                <c:pt idx="257">
                  <c:v>1.0407959358097787</c:v>
                </c:pt>
                <c:pt idx="258">
                  <c:v>1.0356481383804894</c:v>
                </c:pt>
                <c:pt idx="259">
                  <c:v>1.0351584086016834</c:v>
                </c:pt>
                <c:pt idx="260">
                  <c:v>1.0488597702030218</c:v>
                </c:pt>
                <c:pt idx="261">
                  <c:v>1.0415326965526448</c:v>
                </c:pt>
                <c:pt idx="262">
                  <c:v>1.0407113553153313</c:v>
                </c:pt>
                <c:pt idx="263">
                  <c:v>1.047115807044309</c:v>
                </c:pt>
                <c:pt idx="264">
                  <c:v>1.0555487384960276</c:v>
                </c:pt>
                <c:pt idx="265">
                  <c:v>1.055033831535416</c:v>
                </c:pt>
                <c:pt idx="266">
                  <c:v>1.0500930197558456</c:v>
                </c:pt>
                <c:pt idx="267">
                  <c:v>1.0566612782586366</c:v>
                </c:pt>
                <c:pt idx="268">
                  <c:v>1.0521010727178444</c:v>
                </c:pt>
                <c:pt idx="269">
                  <c:v>1.0570385684135706</c:v>
                </c:pt>
                <c:pt idx="270">
                  <c:v>1.0639923988019679</c:v>
                </c:pt>
                <c:pt idx="271">
                  <c:v>1.0552196579004007</c:v>
                </c:pt>
                <c:pt idx="272">
                  <c:v>1.0460661355905778</c:v>
                </c:pt>
                <c:pt idx="273">
                  <c:v>1.0510816792305424</c:v>
                </c:pt>
                <c:pt idx="274">
                  <c:v>1.0524394193594018</c:v>
                </c:pt>
                <c:pt idx="275">
                  <c:v>1.0441288200063636</c:v>
                </c:pt>
                <c:pt idx="276">
                  <c:v>1.0492029757070382</c:v>
                </c:pt>
                <c:pt idx="277">
                  <c:v>1.0440986775658969</c:v>
                </c:pt>
                <c:pt idx="278">
                  <c:v>1.0432806836523116</c:v>
                </c:pt>
                <c:pt idx="279">
                  <c:v>1.0401320737167261</c:v>
                </c:pt>
                <c:pt idx="280">
                  <c:v>1.0362850854608336</c:v>
                </c:pt>
                <c:pt idx="281">
                  <c:v>1.0328500265228338</c:v>
                </c:pt>
                <c:pt idx="282">
                  <c:v>1.0553048494520325</c:v>
                </c:pt>
                <c:pt idx="283">
                  <c:v>1.0433751107434892</c:v>
                </c:pt>
                <c:pt idx="284">
                  <c:v>1.0387585455010475</c:v>
                </c:pt>
                <c:pt idx="285">
                  <c:v>1.0370942962772001</c:v>
                </c:pt>
                <c:pt idx="286">
                  <c:v>1.0421479667303239</c:v>
                </c:pt>
                <c:pt idx="287">
                  <c:v>1.037320567162394</c:v>
                </c:pt>
                <c:pt idx="288">
                  <c:v>1.0244072795357433</c:v>
                </c:pt>
                <c:pt idx="289">
                  <c:v>1.0292744325100598</c:v>
                </c:pt>
                <c:pt idx="290">
                  <c:v>1.0291760456854187</c:v>
                </c:pt>
                <c:pt idx="291">
                  <c:v>1.0168572760452408</c:v>
                </c:pt>
                <c:pt idx="292">
                  <c:v>1.0189617464227139</c:v>
                </c:pt>
                <c:pt idx="293">
                  <c:v>1.0145494355750122</c:v>
                </c:pt>
                <c:pt idx="294">
                  <c:v>1.0069078482784997</c:v>
                </c:pt>
                <c:pt idx="295">
                  <c:v>0.99595771689244728</c:v>
                </c:pt>
                <c:pt idx="296">
                  <c:v>1.0085651068822798</c:v>
                </c:pt>
                <c:pt idx="297">
                  <c:v>1.0133328030653994</c:v>
                </c:pt>
                <c:pt idx="298">
                  <c:v>1.0111787625630977</c:v>
                </c:pt>
                <c:pt idx="299">
                  <c:v>1.018622230642019</c:v>
                </c:pt>
                <c:pt idx="300">
                  <c:v>1.0158942121040258</c:v>
                </c:pt>
                <c:pt idx="301">
                  <c:v>1.0126560403065952</c:v>
                </c:pt>
                <c:pt idx="302">
                  <c:v>1.0105292493479576</c:v>
                </c:pt>
                <c:pt idx="303">
                  <c:v>1.002682306171526</c:v>
                </c:pt>
                <c:pt idx="304">
                  <c:v>0.9785570889563131</c:v>
                </c:pt>
                <c:pt idx="305">
                  <c:v>0.96900673233374768</c:v>
                </c:pt>
                <c:pt idx="306">
                  <c:v>0.96926296602527184</c:v>
                </c:pt>
                <c:pt idx="307">
                  <c:v>0.97141758750954332</c:v>
                </c:pt>
                <c:pt idx="308">
                  <c:v>0.96000246302982362</c:v>
                </c:pt>
                <c:pt idx="309">
                  <c:v>0.95122035580110276</c:v>
                </c:pt>
                <c:pt idx="310">
                  <c:v>0.93428257391612313</c:v>
                </c:pt>
                <c:pt idx="311">
                  <c:v>0.93810817767788535</c:v>
                </c:pt>
                <c:pt idx="312">
                  <c:v>0.94450896962083819</c:v>
                </c:pt>
                <c:pt idx="313">
                  <c:v>0.94919654404634501</c:v>
                </c:pt>
                <c:pt idx="314">
                  <c:v>0.93908502408194705</c:v>
                </c:pt>
                <c:pt idx="315">
                  <c:v>0.93808460511197089</c:v>
                </c:pt>
                <c:pt idx="316">
                  <c:v>0.93022749550762163</c:v>
                </c:pt>
                <c:pt idx="317">
                  <c:v>0.92889065212666522</c:v>
                </c:pt>
                <c:pt idx="318">
                  <c:v>0.92513627854772584</c:v>
                </c:pt>
                <c:pt idx="319">
                  <c:v>0.9152901645189917</c:v>
                </c:pt>
                <c:pt idx="320">
                  <c:v>0.9222896232376262</c:v>
                </c:pt>
                <c:pt idx="321">
                  <c:v>0.92485246499645768</c:v>
                </c:pt>
                <c:pt idx="322">
                  <c:v>0.90775665682260653</c:v>
                </c:pt>
                <c:pt idx="323">
                  <c:v>0.89762421013922233</c:v>
                </c:pt>
                <c:pt idx="324">
                  <c:v>0.87508193370715548</c:v>
                </c:pt>
                <c:pt idx="325">
                  <c:v>0.87046908821774616</c:v>
                </c:pt>
                <c:pt idx="326">
                  <c:v>0.8554573873510064</c:v>
                </c:pt>
                <c:pt idx="327">
                  <c:v>0.85939048719657107</c:v>
                </c:pt>
                <c:pt idx="328">
                  <c:v>0.86049851179488024</c:v>
                </c:pt>
                <c:pt idx="329">
                  <c:v>0.86475844560625847</c:v>
                </c:pt>
                <c:pt idx="330">
                  <c:v>0.86932112768258174</c:v>
                </c:pt>
                <c:pt idx="331">
                  <c:v>0.89953295255322641</c:v>
                </c:pt>
                <c:pt idx="332">
                  <c:v>0.89914301116543527</c:v>
                </c:pt>
                <c:pt idx="333">
                  <c:v>0.89967778372389662</c:v>
                </c:pt>
                <c:pt idx="334">
                  <c:v>0.8936814837175846</c:v>
                </c:pt>
                <c:pt idx="335">
                  <c:v>0.90744556979926805</c:v>
                </c:pt>
                <c:pt idx="336">
                  <c:v>0.90605364973579827</c:v>
                </c:pt>
                <c:pt idx="337">
                  <c:v>0.91997517182858579</c:v>
                </c:pt>
                <c:pt idx="338">
                  <c:v>0.92374775086449512</c:v>
                </c:pt>
                <c:pt idx="339">
                  <c:v>0.92665385595985161</c:v>
                </c:pt>
                <c:pt idx="340">
                  <c:v>0.92356052219585072</c:v>
                </c:pt>
                <c:pt idx="341">
                  <c:v>0.91956545328118466</c:v>
                </c:pt>
                <c:pt idx="342">
                  <c:v>0.91238151777624965</c:v>
                </c:pt>
                <c:pt idx="343">
                  <c:v>0.90743185891273259</c:v>
                </c:pt>
                <c:pt idx="344">
                  <c:v>0.90022956418533551</c:v>
                </c:pt>
                <c:pt idx="345">
                  <c:v>0.8803010271451468</c:v>
                </c:pt>
                <c:pt idx="346">
                  <c:v>0.90012568730041198</c:v>
                </c:pt>
                <c:pt idx="347">
                  <c:v>0.90106377526331904</c:v>
                </c:pt>
                <c:pt idx="348">
                  <c:v>0.91475410929125145</c:v>
                </c:pt>
                <c:pt idx="349">
                  <c:v>0.93368695192035156</c:v>
                </c:pt>
                <c:pt idx="350">
                  <c:v>0.89786901531601115</c:v>
                </c:pt>
                <c:pt idx="351">
                  <c:v>0.89040511291229574</c:v>
                </c:pt>
                <c:pt idx="352">
                  <c:v>0.88955702579686646</c:v>
                </c:pt>
                <c:pt idx="353">
                  <c:v>0.90354548102057575</c:v>
                </c:pt>
                <c:pt idx="354">
                  <c:v>0.88160543391178348</c:v>
                </c:pt>
                <c:pt idx="355">
                  <c:v>0.87876134882936219</c:v>
                </c:pt>
                <c:pt idx="356">
                  <c:v>0.87256147782371674</c:v>
                </c:pt>
                <c:pt idx="357">
                  <c:v>0.86252577947068032</c:v>
                </c:pt>
                <c:pt idx="358">
                  <c:v>0.86960693566263048</c:v>
                </c:pt>
                <c:pt idx="359">
                  <c:v>0.86269018408713638</c:v>
                </c:pt>
                <c:pt idx="360">
                  <c:v>0.85347376292268518</c:v>
                </c:pt>
                <c:pt idx="361">
                  <c:v>0.86897326277571585</c:v>
                </c:pt>
                <c:pt idx="362">
                  <c:v>0.86062466707067031</c:v>
                </c:pt>
                <c:pt idx="363">
                  <c:v>0.83952001657329911</c:v>
                </c:pt>
                <c:pt idx="364">
                  <c:v>0.83144319453953541</c:v>
                </c:pt>
                <c:pt idx="365">
                  <c:v>0.84148208719640949</c:v>
                </c:pt>
                <c:pt idx="366">
                  <c:v>0.85518681182418421</c:v>
                </c:pt>
                <c:pt idx="367">
                  <c:v>0.86058554829376155</c:v>
                </c:pt>
                <c:pt idx="368">
                  <c:v>0.85884957991237854</c:v>
                </c:pt>
                <c:pt idx="369">
                  <c:v>0.84091072273475176</c:v>
                </c:pt>
                <c:pt idx="370">
                  <c:v>0.84700937515968222</c:v>
                </c:pt>
                <c:pt idx="371">
                  <c:v>0.84238501001466615</c:v>
                </c:pt>
                <c:pt idx="372">
                  <c:v>0.84773549257069625</c:v>
                </c:pt>
                <c:pt idx="373">
                  <c:v>0.85869886946382123</c:v>
                </c:pt>
                <c:pt idx="374">
                  <c:v>0.85407966530121437</c:v>
                </c:pt>
                <c:pt idx="375">
                  <c:v>0.86109071203582499</c:v>
                </c:pt>
                <c:pt idx="376">
                  <c:v>0.8649071457328471</c:v>
                </c:pt>
                <c:pt idx="377">
                  <c:v>0.87150504952823993</c:v>
                </c:pt>
                <c:pt idx="378">
                  <c:v>0.87057722144851724</c:v>
                </c:pt>
                <c:pt idx="379">
                  <c:v>0.88071326116551685</c:v>
                </c:pt>
                <c:pt idx="380">
                  <c:v>0.8775543571733494</c:v>
                </c:pt>
                <c:pt idx="381">
                  <c:v>0.87808750011432268</c:v>
                </c:pt>
                <c:pt idx="382">
                  <c:v>0.8779171491316593</c:v>
                </c:pt>
                <c:pt idx="383">
                  <c:v>0.87103625566962462</c:v>
                </c:pt>
                <c:pt idx="384">
                  <c:v>0.88971656224678575</c:v>
                </c:pt>
                <c:pt idx="385">
                  <c:v>0.90178907310817213</c:v>
                </c:pt>
                <c:pt idx="386">
                  <c:v>0.90385458893299886</c:v>
                </c:pt>
                <c:pt idx="387">
                  <c:v>0.90745235281839931</c:v>
                </c:pt>
                <c:pt idx="388">
                  <c:v>0.92098597556910655</c:v>
                </c:pt>
                <c:pt idx="389">
                  <c:v>0.91448738602264412</c:v>
                </c:pt>
                <c:pt idx="390">
                  <c:v>0.9171172420938446</c:v>
                </c:pt>
                <c:pt idx="391">
                  <c:v>0.91543151157327096</c:v>
                </c:pt>
                <c:pt idx="392">
                  <c:v>0.91542694931213109</c:v>
                </c:pt>
                <c:pt idx="393">
                  <c:v>0.91059273523852735</c:v>
                </c:pt>
                <c:pt idx="394">
                  <c:v>0.89928048658087201</c:v>
                </c:pt>
                <c:pt idx="395">
                  <c:v>0.8955871184641726</c:v>
                </c:pt>
                <c:pt idx="396">
                  <c:v>0.89651025700507114</c:v>
                </c:pt>
                <c:pt idx="397">
                  <c:v>0.88410757528382689</c:v>
                </c:pt>
                <c:pt idx="398">
                  <c:v>0.87281733493396896</c:v>
                </c:pt>
                <c:pt idx="399">
                  <c:v>0.88930717690528682</c:v>
                </c:pt>
                <c:pt idx="400">
                  <c:v>0.88792278721983231</c:v>
                </c:pt>
                <c:pt idx="401">
                  <c:v>0.89005714986080231</c:v>
                </c:pt>
                <c:pt idx="402">
                  <c:v>0.87398607239265425</c:v>
                </c:pt>
                <c:pt idx="403">
                  <c:v>0.87281363950826107</c:v>
                </c:pt>
                <c:pt idx="404">
                  <c:v>0.8763173372799129</c:v>
                </c:pt>
                <c:pt idx="405">
                  <c:v>0.89286897351632877</c:v>
                </c:pt>
                <c:pt idx="406">
                  <c:v>0.89921594508990821</c:v>
                </c:pt>
                <c:pt idx="407">
                  <c:v>0.90951341945203679</c:v>
                </c:pt>
                <c:pt idx="408">
                  <c:v>0.91482421941661429</c:v>
                </c:pt>
                <c:pt idx="409">
                  <c:v>0.8939453356749173</c:v>
                </c:pt>
                <c:pt idx="410">
                  <c:v>0.88877527605645756</c:v>
                </c:pt>
                <c:pt idx="411">
                  <c:v>0.89040426192431443</c:v>
                </c:pt>
                <c:pt idx="412">
                  <c:v>0.88395319345724654</c:v>
                </c:pt>
                <c:pt idx="413">
                  <c:v>0.88207626979612874</c:v>
                </c:pt>
                <c:pt idx="414">
                  <c:v>0.89638089534035048</c:v>
                </c:pt>
                <c:pt idx="415">
                  <c:v>0.89551652779979463</c:v>
                </c:pt>
                <c:pt idx="416">
                  <c:v>0.88871152552499721</c:v>
                </c:pt>
                <c:pt idx="417">
                  <c:v>0.88103510149906505</c:v>
                </c:pt>
                <c:pt idx="418">
                  <c:v>0.87589075944894668</c:v>
                </c:pt>
                <c:pt idx="419">
                  <c:v>0.87527157317448101</c:v>
                </c:pt>
                <c:pt idx="420">
                  <c:v>0.86874570323422273</c:v>
                </c:pt>
                <c:pt idx="421">
                  <c:v>0.86810594497398264</c:v>
                </c:pt>
                <c:pt idx="422">
                  <c:v>0.86828231900126485</c:v>
                </c:pt>
                <c:pt idx="423">
                  <c:v>0.87094449593108281</c:v>
                </c:pt>
                <c:pt idx="424">
                  <c:v>0.89064527606479438</c:v>
                </c:pt>
                <c:pt idx="425">
                  <c:v>0.88791980659681424</c:v>
                </c:pt>
                <c:pt idx="426">
                  <c:v>0.90382469952924749</c:v>
                </c:pt>
                <c:pt idx="427">
                  <c:v>0.91463055586326147</c:v>
                </c:pt>
                <c:pt idx="428">
                  <c:v>0.91081285258273614</c:v>
                </c:pt>
                <c:pt idx="429">
                  <c:v>0.90542423838439012</c:v>
                </c:pt>
                <c:pt idx="430">
                  <c:v>0.90002957307804854</c:v>
                </c:pt>
                <c:pt idx="431">
                  <c:v>0.91671685165742334</c:v>
                </c:pt>
                <c:pt idx="432">
                  <c:v>0.91994198762398782</c:v>
                </c:pt>
                <c:pt idx="433">
                  <c:v>0.91737272805393766</c:v>
                </c:pt>
                <c:pt idx="434">
                  <c:v>0.92321958060314901</c:v>
                </c:pt>
                <c:pt idx="435">
                  <c:v>0.92344744144218083</c:v>
                </c:pt>
                <c:pt idx="436">
                  <c:v>0.91337056113906323</c:v>
                </c:pt>
                <c:pt idx="437">
                  <c:v>0.91197835942494709</c:v>
                </c:pt>
                <c:pt idx="438">
                  <c:v>0.91969609592635204</c:v>
                </c:pt>
                <c:pt idx="439">
                  <c:v>0.91979739025662632</c:v>
                </c:pt>
                <c:pt idx="440">
                  <c:v>0.91279540611269561</c:v>
                </c:pt>
                <c:pt idx="441">
                  <c:v>0.89910316615368968</c:v>
                </c:pt>
                <c:pt idx="442">
                  <c:v>0.90633181272863617</c:v>
                </c:pt>
                <c:pt idx="443">
                  <c:v>0.90296738375853991</c:v>
                </c:pt>
                <c:pt idx="444">
                  <c:v>0.90244297674712792</c:v>
                </c:pt>
                <c:pt idx="445">
                  <c:v>0.90721320510070746</c:v>
                </c:pt>
                <c:pt idx="446">
                  <c:v>0.90640426333672353</c:v>
                </c:pt>
                <c:pt idx="447">
                  <c:v>0.91394877148333731</c:v>
                </c:pt>
                <c:pt idx="448">
                  <c:v>0.90886364584204427</c:v>
                </c:pt>
                <c:pt idx="449">
                  <c:v>0.91598608455385255</c:v>
                </c:pt>
                <c:pt idx="450">
                  <c:v>0.91331652343879943</c:v>
                </c:pt>
                <c:pt idx="451">
                  <c:v>0.9135386813188231</c:v>
                </c:pt>
                <c:pt idx="452">
                  <c:v>0.92418949743899659</c:v>
                </c:pt>
                <c:pt idx="453">
                  <c:v>0.92736781162671034</c:v>
                </c:pt>
                <c:pt idx="454">
                  <c:v>0.91891262881549929</c:v>
                </c:pt>
                <c:pt idx="455">
                  <c:v>0.92596561311923131</c:v>
                </c:pt>
                <c:pt idx="456">
                  <c:v>0.92853378367405193</c:v>
                </c:pt>
                <c:pt idx="457">
                  <c:v>0.92493417441358661</c:v>
                </c:pt>
                <c:pt idx="458">
                  <c:v>0.91441304507910159</c:v>
                </c:pt>
                <c:pt idx="459">
                  <c:v>0.91273789944251604</c:v>
                </c:pt>
                <c:pt idx="460">
                  <c:v>0.9124819146617833</c:v>
                </c:pt>
                <c:pt idx="461">
                  <c:v>0.91638420401347909</c:v>
                </c:pt>
                <c:pt idx="462">
                  <c:v>0.92017981916401281</c:v>
                </c:pt>
                <c:pt idx="463">
                  <c:v>0.92167042143650824</c:v>
                </c:pt>
                <c:pt idx="464">
                  <c:v>0.91649954482291407</c:v>
                </c:pt>
                <c:pt idx="465">
                  <c:v>0.91610612677810055</c:v>
                </c:pt>
                <c:pt idx="466">
                  <c:v>0.91128943856189337</c:v>
                </c:pt>
                <c:pt idx="467">
                  <c:v>0.90872660313188824</c:v>
                </c:pt>
                <c:pt idx="468">
                  <c:v>0.91404710044491344</c:v>
                </c:pt>
                <c:pt idx="469">
                  <c:v>0.90183141308336323</c:v>
                </c:pt>
                <c:pt idx="470">
                  <c:v>0.90021021499573017</c:v>
                </c:pt>
                <c:pt idx="471">
                  <c:v>0.90773942183896639</c:v>
                </c:pt>
                <c:pt idx="472">
                  <c:v>0.8829812395904143</c:v>
                </c:pt>
                <c:pt idx="473">
                  <c:v>0.89917323806881155</c:v>
                </c:pt>
                <c:pt idx="474">
                  <c:v>0.9036899939513463</c:v>
                </c:pt>
                <c:pt idx="475">
                  <c:v>0.91400864124801151</c:v>
                </c:pt>
                <c:pt idx="476">
                  <c:v>0.91253200498483145</c:v>
                </c:pt>
                <c:pt idx="477">
                  <c:v>0.91192557694852705</c:v>
                </c:pt>
                <c:pt idx="478">
                  <c:v>0.90754925474695214</c:v>
                </c:pt>
                <c:pt idx="479">
                  <c:v>0.9119815986832307</c:v>
                </c:pt>
                <c:pt idx="480">
                  <c:v>0.90959409809820368</c:v>
                </c:pt>
                <c:pt idx="481">
                  <c:v>0.89649412268120265</c:v>
                </c:pt>
                <c:pt idx="482">
                  <c:v>0.89126260440707883</c:v>
                </c:pt>
                <c:pt idx="483">
                  <c:v>0.89578867449561228</c:v>
                </c:pt>
                <c:pt idx="484">
                  <c:v>0.89987809603255742</c:v>
                </c:pt>
                <c:pt idx="485">
                  <c:v>0.903871339190922</c:v>
                </c:pt>
                <c:pt idx="486">
                  <c:v>0.89298083030193043</c:v>
                </c:pt>
                <c:pt idx="487">
                  <c:v>0.89664021046197251</c:v>
                </c:pt>
                <c:pt idx="488">
                  <c:v>0.8957494865984913</c:v>
                </c:pt>
                <c:pt idx="489">
                  <c:v>0.90827341606807688</c:v>
                </c:pt>
                <c:pt idx="490">
                  <c:v>0.91177754767910024</c:v>
                </c:pt>
                <c:pt idx="491">
                  <c:v>0.91278454904621675</c:v>
                </c:pt>
                <c:pt idx="492">
                  <c:v>0.91134012672218723</c:v>
                </c:pt>
                <c:pt idx="493">
                  <c:v>0.90472994329896439</c:v>
                </c:pt>
                <c:pt idx="494">
                  <c:v>0.91123549024337769</c:v>
                </c:pt>
                <c:pt idx="495">
                  <c:v>0.92372514557012664</c:v>
                </c:pt>
                <c:pt idx="496">
                  <c:v>0.93290958770834054</c:v>
                </c:pt>
                <c:pt idx="497">
                  <c:v>0.93658660133600635</c:v>
                </c:pt>
                <c:pt idx="498">
                  <c:v>0.94749301197793423</c:v>
                </c:pt>
                <c:pt idx="499">
                  <c:v>0.9558704748811836</c:v>
                </c:pt>
                <c:pt idx="500">
                  <c:v>0.95895595451429139</c:v>
                </c:pt>
                <c:pt idx="501">
                  <c:v>0.95916865032509258</c:v>
                </c:pt>
                <c:pt idx="502">
                  <c:v>0.95789136144208009</c:v>
                </c:pt>
                <c:pt idx="503">
                  <c:v>0.95512308727024808</c:v>
                </c:pt>
                <c:pt idx="504">
                  <c:v>0.95238779628773562</c:v>
                </c:pt>
                <c:pt idx="505">
                  <c:v>0.95877327313789906</c:v>
                </c:pt>
                <c:pt idx="506">
                  <c:v>0.93774480016175998</c:v>
                </c:pt>
                <c:pt idx="507">
                  <c:v>0.9349033994854119</c:v>
                </c:pt>
                <c:pt idx="508">
                  <c:v>0.93879948428859705</c:v>
                </c:pt>
                <c:pt idx="509">
                  <c:v>0.94412979255490126</c:v>
                </c:pt>
                <c:pt idx="510">
                  <c:v>0.9512031944008783</c:v>
                </c:pt>
                <c:pt idx="511">
                  <c:v>0.94268544446138791</c:v>
                </c:pt>
                <c:pt idx="512">
                  <c:v>0.95272391750704699</c:v>
                </c:pt>
                <c:pt idx="513">
                  <c:v>0.95252142561300368</c:v>
                </c:pt>
                <c:pt idx="514">
                  <c:v>0.96452623727524234</c:v>
                </c:pt>
                <c:pt idx="515">
                  <c:v>0.96956586740692408</c:v>
                </c:pt>
                <c:pt idx="516">
                  <c:v>0.9711912316645348</c:v>
                </c:pt>
                <c:pt idx="517">
                  <c:v>0.96701078763406578</c:v>
                </c:pt>
                <c:pt idx="518">
                  <c:v>0.96851751591496393</c:v>
                </c:pt>
                <c:pt idx="519">
                  <c:v>0.96392670790896273</c:v>
                </c:pt>
                <c:pt idx="520">
                  <c:v>0.95407125802374593</c:v>
                </c:pt>
                <c:pt idx="521">
                  <c:v>0.95277784245597641</c:v>
                </c:pt>
                <c:pt idx="522">
                  <c:v>0.94483280999599351</c:v>
                </c:pt>
                <c:pt idx="523">
                  <c:v>0.94499267762016381</c:v>
                </c:pt>
                <c:pt idx="524">
                  <c:v>0.93707974846585651</c:v>
                </c:pt>
                <c:pt idx="525">
                  <c:v>0.92663482201210878</c:v>
                </c:pt>
                <c:pt idx="526">
                  <c:v>0.91970305780186301</c:v>
                </c:pt>
                <c:pt idx="527">
                  <c:v>0.93473895481992364</c:v>
                </c:pt>
                <c:pt idx="528">
                  <c:v>0.94869489921071581</c:v>
                </c:pt>
                <c:pt idx="529">
                  <c:v>0.95934256763091963</c:v>
                </c:pt>
                <c:pt idx="530">
                  <c:v>0.95928398255263025</c:v>
                </c:pt>
                <c:pt idx="531">
                  <c:v>0.96416329523359123</c:v>
                </c:pt>
                <c:pt idx="532">
                  <c:v>0.96949763264340694</c:v>
                </c:pt>
                <c:pt idx="533">
                  <c:v>0.95680154472505519</c:v>
                </c:pt>
                <c:pt idx="534">
                  <c:v>0.96484553875288326</c:v>
                </c:pt>
                <c:pt idx="535">
                  <c:v>0.97176158630467258</c:v>
                </c:pt>
                <c:pt idx="536">
                  <c:v>0.96636633663299543</c:v>
                </c:pt>
                <c:pt idx="537">
                  <c:v>0.95303523781066413</c:v>
                </c:pt>
                <c:pt idx="538">
                  <c:v>0.95051613395880497</c:v>
                </c:pt>
                <c:pt idx="539">
                  <c:v>0.95411726218958659</c:v>
                </c:pt>
                <c:pt idx="540">
                  <c:v>0.95726644762044399</c:v>
                </c:pt>
                <c:pt idx="541">
                  <c:v>0.94954930673094751</c:v>
                </c:pt>
                <c:pt idx="542">
                  <c:v>0.94416920998378961</c:v>
                </c:pt>
                <c:pt idx="543">
                  <c:v>0.92398393431392034</c:v>
                </c:pt>
                <c:pt idx="544">
                  <c:v>0.92326360036128297</c:v>
                </c:pt>
                <c:pt idx="545">
                  <c:v>0.82846585740208734</c:v>
                </c:pt>
                <c:pt idx="546">
                  <c:v>0.86260231746754146</c:v>
                </c:pt>
                <c:pt idx="547">
                  <c:v>0.86328634721956432</c:v>
                </c:pt>
                <c:pt idx="548">
                  <c:v>0.85966092270325467</c:v>
                </c:pt>
                <c:pt idx="549">
                  <c:v>0.85836988159619032</c:v>
                </c:pt>
                <c:pt idx="550">
                  <c:v>0.84282575336382604</c:v>
                </c:pt>
                <c:pt idx="551">
                  <c:v>0.81292933316053673</c:v>
                </c:pt>
                <c:pt idx="552">
                  <c:v>0.78805785240173243</c:v>
                </c:pt>
                <c:pt idx="553">
                  <c:v>0.7675040108089648</c:v>
                </c:pt>
                <c:pt idx="554">
                  <c:v>0.79404914258993853</c:v>
                </c:pt>
                <c:pt idx="555">
                  <c:v>0.82176912335767904</c:v>
                </c:pt>
                <c:pt idx="556">
                  <c:v>0.82133912560319944</c:v>
                </c:pt>
                <c:pt idx="557">
                  <c:v>0.82536014890821363</c:v>
                </c:pt>
                <c:pt idx="558">
                  <c:v>0.81720552727920237</c:v>
                </c:pt>
                <c:pt idx="559">
                  <c:v>0.8170083121013868</c:v>
                </c:pt>
                <c:pt idx="560">
                  <c:v>0.8282505649062688</c:v>
                </c:pt>
                <c:pt idx="561">
                  <c:v>0.83678398088551942</c:v>
                </c:pt>
                <c:pt idx="562">
                  <c:v>0.829273866124702</c:v>
                </c:pt>
                <c:pt idx="563">
                  <c:v>0.83476700730597087</c:v>
                </c:pt>
                <c:pt idx="564">
                  <c:v>0.84955825634546811</c:v>
                </c:pt>
                <c:pt idx="565">
                  <c:v>0.85344860071510764</c:v>
                </c:pt>
                <c:pt idx="566">
                  <c:v>0.85542565150158612</c:v>
                </c:pt>
                <c:pt idx="567">
                  <c:v>0.84762118743263182</c:v>
                </c:pt>
                <c:pt idx="568">
                  <c:v>0.85943727146795246</c:v>
                </c:pt>
                <c:pt idx="569">
                  <c:v>0.83679776535356876</c:v>
                </c:pt>
                <c:pt idx="570">
                  <c:v>0.84384644154150967</c:v>
                </c:pt>
                <c:pt idx="571">
                  <c:v>0.85202204432795881</c:v>
                </c:pt>
                <c:pt idx="572">
                  <c:v>0.87029286801080197</c:v>
                </c:pt>
                <c:pt idx="573">
                  <c:v>0.86511474149349576</c:v>
                </c:pt>
                <c:pt idx="574">
                  <c:v>0.85508779412913571</c:v>
                </c:pt>
                <c:pt idx="575">
                  <c:v>0.8291671191288249</c:v>
                </c:pt>
                <c:pt idx="576">
                  <c:v>0.83870441958080144</c:v>
                </c:pt>
                <c:pt idx="577">
                  <c:v>0.84304963604523653</c:v>
                </c:pt>
                <c:pt idx="578">
                  <c:v>0.85608259258759234</c:v>
                </c:pt>
                <c:pt idx="579">
                  <c:v>0.8521680355345097</c:v>
                </c:pt>
                <c:pt idx="580">
                  <c:v>0.84666888730025458</c:v>
                </c:pt>
                <c:pt idx="581">
                  <c:v>0.84476941298855734</c:v>
                </c:pt>
                <c:pt idx="582">
                  <c:v>0.82579249255387255</c:v>
                </c:pt>
                <c:pt idx="583">
                  <c:v>0.81384384657753017</c:v>
                </c:pt>
                <c:pt idx="584">
                  <c:v>0.82868187368155211</c:v>
                </c:pt>
                <c:pt idx="585">
                  <c:v>0.82933931244392001</c:v>
                </c:pt>
                <c:pt idx="586">
                  <c:v>0.82846916426808159</c:v>
                </c:pt>
                <c:pt idx="587">
                  <c:v>0.82309115996033622</c:v>
                </c:pt>
                <c:pt idx="588">
                  <c:v>0.81932245692646899</c:v>
                </c:pt>
                <c:pt idx="589">
                  <c:v>0.83259003148833999</c:v>
                </c:pt>
                <c:pt idx="590">
                  <c:v>0.85865316875414954</c:v>
                </c:pt>
                <c:pt idx="591">
                  <c:v>0.85987068016785451</c:v>
                </c:pt>
                <c:pt idx="592">
                  <c:v>0.86486801485041553</c:v>
                </c:pt>
                <c:pt idx="593">
                  <c:v>0.87214270694321994</c:v>
                </c:pt>
                <c:pt idx="594">
                  <c:v>0.87671853469460936</c:v>
                </c:pt>
                <c:pt idx="595">
                  <c:v>0.87419841123349862</c:v>
                </c:pt>
                <c:pt idx="596">
                  <c:v>0.87921421808275313</c:v>
                </c:pt>
                <c:pt idx="597">
                  <c:v>0.88968460163589835</c:v>
                </c:pt>
                <c:pt idx="598">
                  <c:v>0.9029923952363792</c:v>
                </c:pt>
                <c:pt idx="599">
                  <c:v>0.908394822837572</c:v>
                </c:pt>
                <c:pt idx="600">
                  <c:v>0.90556129182922929</c:v>
                </c:pt>
                <c:pt idx="601">
                  <c:v>0.91187147722984718</c:v>
                </c:pt>
                <c:pt idx="602">
                  <c:v>0.91792022905611759</c:v>
                </c:pt>
                <c:pt idx="603">
                  <c:v>0.89637535857619877</c:v>
                </c:pt>
                <c:pt idx="604">
                  <c:v>0.9063239530665842</c:v>
                </c:pt>
                <c:pt idx="605">
                  <c:v>0.92060177839312374</c:v>
                </c:pt>
                <c:pt idx="606">
                  <c:v>0.91319869844841084</c:v>
                </c:pt>
                <c:pt idx="607">
                  <c:v>0.93254115646966074</c:v>
                </c:pt>
                <c:pt idx="608">
                  <c:v>0.93766556028364179</c:v>
                </c:pt>
                <c:pt idx="609">
                  <c:v>0.9379254950317687</c:v>
                </c:pt>
                <c:pt idx="610">
                  <c:v>0.92908201949712643</c:v>
                </c:pt>
                <c:pt idx="611">
                  <c:v>0.93569927257353003</c:v>
                </c:pt>
                <c:pt idx="612">
                  <c:v>0.93513607340729088</c:v>
                </c:pt>
                <c:pt idx="613">
                  <c:v>0.93473219932319229</c:v>
                </c:pt>
                <c:pt idx="614">
                  <c:v>0.93840855239373078</c:v>
                </c:pt>
                <c:pt idx="615">
                  <c:v>0.93328695474485235</c:v>
                </c:pt>
                <c:pt idx="616">
                  <c:v>0.92959175842903163</c:v>
                </c:pt>
                <c:pt idx="617">
                  <c:v>0.93919530843895827</c:v>
                </c:pt>
                <c:pt idx="618">
                  <c:v>0.94070178060087006</c:v>
                </c:pt>
                <c:pt idx="619">
                  <c:v>0.92930320172047232</c:v>
                </c:pt>
                <c:pt idx="620">
                  <c:v>0.92411233641531143</c:v>
                </c:pt>
                <c:pt idx="621">
                  <c:v>0.94718524907628143</c:v>
                </c:pt>
                <c:pt idx="622">
                  <c:v>0.92826222885968146</c:v>
                </c:pt>
                <c:pt idx="623">
                  <c:v>0.92295454384227671</c:v>
                </c:pt>
                <c:pt idx="624">
                  <c:v>0.92569011318352912</c:v>
                </c:pt>
                <c:pt idx="625">
                  <c:v>0.92644531168982835</c:v>
                </c:pt>
                <c:pt idx="626">
                  <c:v>0.92942763988152721</c:v>
                </c:pt>
                <c:pt idx="627">
                  <c:v>0.9490360534451201</c:v>
                </c:pt>
                <c:pt idx="628">
                  <c:v>0.95133949330297052</c:v>
                </c:pt>
                <c:pt idx="629">
                  <c:v>0.94122570248223913</c:v>
                </c:pt>
                <c:pt idx="630">
                  <c:v>0.95824317594873476</c:v>
                </c:pt>
                <c:pt idx="631">
                  <c:v>0.96289544306993458</c:v>
                </c:pt>
                <c:pt idx="632">
                  <c:v>0.95949134955242688</c:v>
                </c:pt>
                <c:pt idx="633">
                  <c:v>0.94449373090093791</c:v>
                </c:pt>
                <c:pt idx="634">
                  <c:v>0.94579675227128235</c:v>
                </c:pt>
                <c:pt idx="635">
                  <c:v>0.93814253879686005</c:v>
                </c:pt>
                <c:pt idx="636">
                  <c:v>0.93628450611892045</c:v>
                </c:pt>
                <c:pt idx="637">
                  <c:v>0.93964715456776515</c:v>
                </c:pt>
                <c:pt idx="638">
                  <c:v>0.91604941086474634</c:v>
                </c:pt>
                <c:pt idx="639">
                  <c:v>0.90354202352012936</c:v>
                </c:pt>
                <c:pt idx="640">
                  <c:v>0.87685082714595308</c:v>
                </c:pt>
                <c:pt idx="641">
                  <c:v>0.89388424049946236</c:v>
                </c:pt>
                <c:pt idx="642">
                  <c:v>0.88906069932433585</c:v>
                </c:pt>
                <c:pt idx="643">
                  <c:v>0.8956276167807572</c:v>
                </c:pt>
                <c:pt idx="644">
                  <c:v>0.88710276026883161</c:v>
                </c:pt>
                <c:pt idx="645">
                  <c:v>0.8669939085675813</c:v>
                </c:pt>
                <c:pt idx="646">
                  <c:v>0.87570151046513955</c:v>
                </c:pt>
                <c:pt idx="647">
                  <c:v>0.88492415667086533</c:v>
                </c:pt>
                <c:pt idx="648">
                  <c:v>0.88775032366478468</c:v>
                </c:pt>
                <c:pt idx="649">
                  <c:v>0.88422487507605108</c:v>
                </c:pt>
                <c:pt idx="650">
                  <c:v>0.88662666014257929</c:v>
                </c:pt>
                <c:pt idx="651">
                  <c:v>0.87336035960507119</c:v>
                </c:pt>
                <c:pt idx="652">
                  <c:v>0.85974126825055108</c:v>
                </c:pt>
                <c:pt idx="653">
                  <c:v>0.86053622865217216</c:v>
                </c:pt>
                <c:pt idx="654">
                  <c:v>0.87090760214146767</c:v>
                </c:pt>
                <c:pt idx="655">
                  <c:v>0.88455461663372603</c:v>
                </c:pt>
                <c:pt idx="656">
                  <c:v>0.88657151495655684</c:v>
                </c:pt>
                <c:pt idx="657">
                  <c:v>0.90031306754446017</c:v>
                </c:pt>
                <c:pt idx="658">
                  <c:v>0.90248482674565389</c:v>
                </c:pt>
                <c:pt idx="659">
                  <c:v>0.90883650067246746</c:v>
                </c:pt>
                <c:pt idx="660">
                  <c:v>0.91309979079144965</c:v>
                </c:pt>
                <c:pt idx="661">
                  <c:v>0.92603857693570235</c:v>
                </c:pt>
                <c:pt idx="662">
                  <c:v>0.93531551878675823</c:v>
                </c:pt>
                <c:pt idx="663">
                  <c:v>0.94075154392285887</c:v>
                </c:pt>
                <c:pt idx="664">
                  <c:v>0.92973564590553581</c:v>
                </c:pt>
                <c:pt idx="665">
                  <c:v>0.93732206043251043</c:v>
                </c:pt>
                <c:pt idx="666">
                  <c:v>0.92827481733514872</c:v>
                </c:pt>
                <c:pt idx="667">
                  <c:v>0.92942927775280781</c:v>
                </c:pt>
                <c:pt idx="668">
                  <c:v>0.91647929234092196</c:v>
                </c:pt>
                <c:pt idx="669">
                  <c:v>0.90818299256301005</c:v>
                </c:pt>
                <c:pt idx="670">
                  <c:v>0.8992128564027978</c:v>
                </c:pt>
                <c:pt idx="671">
                  <c:v>0.90085705841025765</c:v>
                </c:pt>
                <c:pt idx="672">
                  <c:v>0.92623720815949717</c:v>
                </c:pt>
                <c:pt idx="673">
                  <c:v>0.92603027432114426</c:v>
                </c:pt>
                <c:pt idx="674">
                  <c:v>0.93171172657451795</c:v>
                </c:pt>
                <c:pt idx="675">
                  <c:v>0.92859029819705119</c:v>
                </c:pt>
                <c:pt idx="676">
                  <c:v>0.92834240108433552</c:v>
                </c:pt>
                <c:pt idx="677">
                  <c:v>0.92602659116052632</c:v>
                </c:pt>
                <c:pt idx="678">
                  <c:v>0.91237438763947676</c:v>
                </c:pt>
                <c:pt idx="679">
                  <c:v>0.91884322804448693</c:v>
                </c:pt>
                <c:pt idx="680">
                  <c:v>0.91997335674178871</c:v>
                </c:pt>
                <c:pt idx="681">
                  <c:v>0.93624050697778716</c:v>
                </c:pt>
                <c:pt idx="682">
                  <c:v>0.90886885368457349</c:v>
                </c:pt>
                <c:pt idx="683">
                  <c:v>0.91149590368412681</c:v>
                </c:pt>
                <c:pt idx="684">
                  <c:v>0.90923542139573155</c:v>
                </c:pt>
                <c:pt idx="685">
                  <c:v>0.89419069945575591</c:v>
                </c:pt>
                <c:pt idx="686">
                  <c:v>0.89990144616766043</c:v>
                </c:pt>
                <c:pt idx="687">
                  <c:v>0.90276614538399136</c:v>
                </c:pt>
                <c:pt idx="688">
                  <c:v>0.8957978733696198</c:v>
                </c:pt>
                <c:pt idx="689">
                  <c:v>0.88986602539482162</c:v>
                </c:pt>
                <c:pt idx="690">
                  <c:v>0.8744885345080543</c:v>
                </c:pt>
                <c:pt idx="691">
                  <c:v>0.8776216888556011</c:v>
                </c:pt>
                <c:pt idx="692">
                  <c:v>0.87237450264304905</c:v>
                </c:pt>
                <c:pt idx="693">
                  <c:v>0.86077534452486093</c:v>
                </c:pt>
                <c:pt idx="694">
                  <c:v>0.86515952798444795</c:v>
                </c:pt>
                <c:pt idx="695">
                  <c:v>0.88280439687014622</c:v>
                </c:pt>
                <c:pt idx="696">
                  <c:v>0.87876983207616344</c:v>
                </c:pt>
                <c:pt idx="697">
                  <c:v>0.86589888640488721</c:v>
                </c:pt>
                <c:pt idx="698">
                  <c:v>0.86491478173123182</c:v>
                </c:pt>
                <c:pt idx="699">
                  <c:v>0.85844459324921307</c:v>
                </c:pt>
                <c:pt idx="700">
                  <c:v>0.86926338983290141</c:v>
                </c:pt>
                <c:pt idx="701">
                  <c:v>0.86913736767287808</c:v>
                </c:pt>
                <c:pt idx="702">
                  <c:v>0.86158230715006756</c:v>
                </c:pt>
                <c:pt idx="703">
                  <c:v>0.8531946038257564</c:v>
                </c:pt>
                <c:pt idx="704">
                  <c:v>0.86569002343920176</c:v>
                </c:pt>
                <c:pt idx="705">
                  <c:v>0.86514672372038415</c:v>
                </c:pt>
                <c:pt idx="706">
                  <c:v>0.86711482400233075</c:v>
                </c:pt>
                <c:pt idx="707">
                  <c:v>0.85693354892585172</c:v>
                </c:pt>
                <c:pt idx="708">
                  <c:v>0.85592461534423958</c:v>
                </c:pt>
                <c:pt idx="709">
                  <c:v>0.86112440197878426</c:v>
                </c:pt>
                <c:pt idx="710">
                  <c:v>0.87431920788120132</c:v>
                </c:pt>
                <c:pt idx="711">
                  <c:v>0.88359644132242576</c:v>
                </c:pt>
                <c:pt idx="712">
                  <c:v>0.89590600354622318</c:v>
                </c:pt>
                <c:pt idx="713">
                  <c:v>0.90451839530836453</c:v>
                </c:pt>
                <c:pt idx="714">
                  <c:v>0.9229622098695246</c:v>
                </c:pt>
                <c:pt idx="715">
                  <c:v>0.92914620251366542</c:v>
                </c:pt>
                <c:pt idx="716">
                  <c:v>0.93671512065847207</c:v>
                </c:pt>
                <c:pt idx="717">
                  <c:v>0.93938951967515605</c:v>
                </c:pt>
                <c:pt idx="718">
                  <c:v>0.9433776549006303</c:v>
                </c:pt>
                <c:pt idx="719">
                  <c:v>0.96456546329157788</c:v>
                </c:pt>
                <c:pt idx="720">
                  <c:v>0.96851399905963498</c:v>
                </c:pt>
                <c:pt idx="721">
                  <c:v>0.96677914604280746</c:v>
                </c:pt>
                <c:pt idx="722">
                  <c:v>0.95221575297684313</c:v>
                </c:pt>
                <c:pt idx="723">
                  <c:v>0.95712127767630462</c:v>
                </c:pt>
                <c:pt idx="724">
                  <c:v>0.96367611669713071</c:v>
                </c:pt>
                <c:pt idx="725">
                  <c:v>0.96567240160105727</c:v>
                </c:pt>
                <c:pt idx="726">
                  <c:v>0.95648940266647875</c:v>
                </c:pt>
                <c:pt idx="727">
                  <c:v>0.96403890245738422</c:v>
                </c:pt>
                <c:pt idx="728">
                  <c:v>0.97059231769509957</c:v>
                </c:pt>
                <c:pt idx="729">
                  <c:v>0.95499780074008445</c:v>
                </c:pt>
                <c:pt idx="730">
                  <c:v>0.95704693105475158</c:v>
                </c:pt>
                <c:pt idx="731">
                  <c:v>0.95478179138876362</c:v>
                </c:pt>
                <c:pt idx="732">
                  <c:v>0.94485885149464277</c:v>
                </c:pt>
                <c:pt idx="733">
                  <c:v>0.95464388630307284</c:v>
                </c:pt>
                <c:pt idx="734">
                  <c:v>0.98234212826222367</c:v>
                </c:pt>
                <c:pt idx="735">
                  <c:v>0.98394257127200269</c:v>
                </c:pt>
                <c:pt idx="736">
                  <c:v>0.99976967772279624</c:v>
                </c:pt>
                <c:pt idx="737">
                  <c:v>0.98911263089335411</c:v>
                </c:pt>
                <c:pt idx="738">
                  <c:v>0.96219800302599767</c:v>
                </c:pt>
                <c:pt idx="739">
                  <c:v>0.93406962469555677</c:v>
                </c:pt>
                <c:pt idx="740">
                  <c:v>0.93698616151423331</c:v>
                </c:pt>
                <c:pt idx="741">
                  <c:v>0.94605638249338353</c:v>
                </c:pt>
                <c:pt idx="742">
                  <c:v>0.9291746859824368</c:v>
                </c:pt>
                <c:pt idx="743">
                  <c:v>0.93722588632349024</c:v>
                </c:pt>
                <c:pt idx="744">
                  <c:v>0.92359667890414776</c:v>
                </c:pt>
                <c:pt idx="745">
                  <c:v>0.92294580698743212</c:v>
                </c:pt>
                <c:pt idx="746">
                  <c:v>0.91404724722722863</c:v>
                </c:pt>
                <c:pt idx="747">
                  <c:v>0.96633398914959079</c:v>
                </c:pt>
                <c:pt idx="748">
                  <c:v>0.96145045394383555</c:v>
                </c:pt>
                <c:pt idx="749">
                  <c:v>0.96039171908639287</c:v>
                </c:pt>
                <c:pt idx="750">
                  <c:v>0.93086340458579964</c:v>
                </c:pt>
                <c:pt idx="751">
                  <c:v>0.94348304369974434</c:v>
                </c:pt>
                <c:pt idx="752">
                  <c:v>0.94123153033626938</c:v>
                </c:pt>
                <c:pt idx="753">
                  <c:v>0.94775215222697329</c:v>
                </c:pt>
                <c:pt idx="754">
                  <c:v>0.95567253468661628</c:v>
                </c:pt>
                <c:pt idx="755">
                  <c:v>0.93970238999252931</c:v>
                </c:pt>
                <c:pt idx="756">
                  <c:v>0.96129877742664704</c:v>
                </c:pt>
                <c:pt idx="757">
                  <c:v>0.98105125925567582</c:v>
                </c:pt>
                <c:pt idx="758">
                  <c:v>1.0069055675031964</c:v>
                </c:pt>
                <c:pt idx="759">
                  <c:v>0.99475653704264788</c:v>
                </c:pt>
                <c:pt idx="760">
                  <c:v>0.99278300320859936</c:v>
                </c:pt>
                <c:pt idx="761">
                  <c:v>1.0051565729103051</c:v>
                </c:pt>
                <c:pt idx="762">
                  <c:v>1.0224819946670427</c:v>
                </c:pt>
                <c:pt idx="763">
                  <c:v>1.0236206962861902</c:v>
                </c:pt>
                <c:pt idx="764">
                  <c:v>1.0373454377542992</c:v>
                </c:pt>
                <c:pt idx="765">
                  <c:v>1.0387318445678662</c:v>
                </c:pt>
                <c:pt idx="766">
                  <c:v>1.0434873863822494</c:v>
                </c:pt>
                <c:pt idx="767">
                  <c:v>1.0683265325635032</c:v>
                </c:pt>
                <c:pt idx="768">
                  <c:v>1.0992776178171386</c:v>
                </c:pt>
                <c:pt idx="769">
                  <c:v>1.1076309869163559</c:v>
                </c:pt>
                <c:pt idx="770">
                  <c:v>1.0931774086426571</c:v>
                </c:pt>
                <c:pt idx="771">
                  <c:v>1.1247634290687893</c:v>
                </c:pt>
                <c:pt idx="772">
                  <c:v>1.1211847452937214</c:v>
                </c:pt>
                <c:pt idx="773">
                  <c:v>1.1144806463298418</c:v>
                </c:pt>
                <c:pt idx="774">
                  <c:v>1.1391815190323789</c:v>
                </c:pt>
                <c:pt idx="775">
                  <c:v>1.1208602923785802</c:v>
                </c:pt>
                <c:pt idx="776">
                  <c:v>1.1445443962661181</c:v>
                </c:pt>
                <c:pt idx="777">
                  <c:v>1.1525049301847825</c:v>
                </c:pt>
                <c:pt idx="778">
                  <c:v>1.1647232200391202</c:v>
                </c:pt>
                <c:pt idx="779">
                  <c:v>1.191323362987875</c:v>
                </c:pt>
                <c:pt idx="780">
                  <c:v>1.1948650518179236</c:v>
                </c:pt>
                <c:pt idx="781">
                  <c:v>1.1965427623428748</c:v>
                </c:pt>
                <c:pt idx="782">
                  <c:v>1.2100485001555075</c:v>
                </c:pt>
                <c:pt idx="783">
                  <c:v>1.2292983162161963</c:v>
                </c:pt>
                <c:pt idx="784">
                  <c:v>1.2519872876476703</c:v>
                </c:pt>
                <c:pt idx="785">
                  <c:v>1.2340803024917859</c:v>
                </c:pt>
                <c:pt idx="786">
                  <c:v>1.2261024921007229</c:v>
                </c:pt>
                <c:pt idx="787">
                  <c:v>1.2327935501549117</c:v>
                </c:pt>
                <c:pt idx="788">
                  <c:v>1.2216683955485748</c:v>
                </c:pt>
                <c:pt idx="789">
                  <c:v>1.2288655981603875</c:v>
                </c:pt>
                <c:pt idx="790">
                  <c:v>1.2015081058022072</c:v>
                </c:pt>
                <c:pt idx="791">
                  <c:v>1.1927526729019631</c:v>
                </c:pt>
                <c:pt idx="792">
                  <c:v>1.2075700622604766</c:v>
                </c:pt>
                <c:pt idx="793">
                  <c:v>1.2060906447139694</c:v>
                </c:pt>
                <c:pt idx="794">
                  <c:v>1.2179233749131877</c:v>
                </c:pt>
                <c:pt idx="795">
                  <c:v>1.2424425101856955</c:v>
                </c:pt>
                <c:pt idx="796">
                  <c:v>1.2224818099652548</c:v>
                </c:pt>
                <c:pt idx="797">
                  <c:v>1.2302922129443743</c:v>
                </c:pt>
                <c:pt idx="798">
                  <c:v>1.2145857211836026</c:v>
                </c:pt>
                <c:pt idx="799">
                  <c:v>1.1708695639994067</c:v>
                </c:pt>
                <c:pt idx="800">
                  <c:v>1.1790573134940907</c:v>
                </c:pt>
                <c:pt idx="801">
                  <c:v>1.175276142569591</c:v>
                </c:pt>
                <c:pt idx="802">
                  <c:v>1.1543582252367075</c:v>
                </c:pt>
                <c:pt idx="803">
                  <c:v>1.140581121602356</c:v>
                </c:pt>
                <c:pt idx="804">
                  <c:v>1.1482354771173287</c:v>
                </c:pt>
                <c:pt idx="805">
                  <c:v>1.1543503096081491</c:v>
                </c:pt>
                <c:pt idx="806">
                  <c:v>1.1416503618028226</c:v>
                </c:pt>
                <c:pt idx="807">
                  <c:v>1.1402695351699699</c:v>
                </c:pt>
                <c:pt idx="808">
                  <c:v>1.1242467589461951</c:v>
                </c:pt>
                <c:pt idx="809">
                  <c:v>1.1309341141190932</c:v>
                </c:pt>
                <c:pt idx="810">
                  <c:v>1.1237833083503301</c:v>
                </c:pt>
                <c:pt idx="811">
                  <c:v>1.1021534526760186</c:v>
                </c:pt>
                <c:pt idx="812">
                  <c:v>1.1034212422512746</c:v>
                </c:pt>
                <c:pt idx="813">
                  <c:v>1.1359749481285795</c:v>
                </c:pt>
                <c:pt idx="814">
                  <c:v>1.1527844314305087</c:v>
                </c:pt>
                <c:pt idx="815">
                  <c:v>1.1676074784677373</c:v>
                </c:pt>
                <c:pt idx="816">
                  <c:v>1.1664966161132944</c:v>
                </c:pt>
                <c:pt idx="817">
                  <c:v>1.1720968496762609</c:v>
                </c:pt>
                <c:pt idx="818">
                  <c:v>1.1884524720078615</c:v>
                </c:pt>
                <c:pt idx="819">
                  <c:v>1.1824663586079938</c:v>
                </c:pt>
                <c:pt idx="820">
                  <c:v>1.1696913396194968</c:v>
                </c:pt>
                <c:pt idx="821">
                  <c:v>1.1497842249759758</c:v>
                </c:pt>
                <c:pt idx="822">
                  <c:v>1.1466799899791253</c:v>
                </c:pt>
                <c:pt idx="823">
                  <c:v>1.1508174592520677</c:v>
                </c:pt>
                <c:pt idx="824">
                  <c:v>1.1403391296474781</c:v>
                </c:pt>
                <c:pt idx="825">
                  <c:v>1.1562635715165344</c:v>
                </c:pt>
                <c:pt idx="826">
                  <c:v>1.1585734967492762</c:v>
                </c:pt>
                <c:pt idx="827">
                  <c:v>1.1468878124357451</c:v>
                </c:pt>
                <c:pt idx="828">
                  <c:v>1.1623351728078755</c:v>
                </c:pt>
                <c:pt idx="829">
                  <c:v>1.1795499127236042</c:v>
                </c:pt>
                <c:pt idx="830">
                  <c:v>1.1722632832911504</c:v>
                </c:pt>
                <c:pt idx="831">
                  <c:v>1.1591118526536406</c:v>
                </c:pt>
                <c:pt idx="832">
                  <c:v>1.1651396777254055</c:v>
                </c:pt>
                <c:pt idx="833">
                  <c:v>1.168082428868668</c:v>
                </c:pt>
                <c:pt idx="834">
                  <c:v>1.1699165148323891</c:v>
                </c:pt>
                <c:pt idx="835">
                  <c:v>1.1633253633731513</c:v>
                </c:pt>
                <c:pt idx="836">
                  <c:v>1.1768123276665918</c:v>
                </c:pt>
                <c:pt idx="837">
                  <c:v>1.2084718300516528</c:v>
                </c:pt>
                <c:pt idx="838">
                  <c:v>1.2021422473106211</c:v>
                </c:pt>
                <c:pt idx="839">
                  <c:v>1.1876609412134167</c:v>
                </c:pt>
                <c:pt idx="840">
                  <c:v>1.1984740419358679</c:v>
                </c:pt>
                <c:pt idx="841">
                  <c:v>1.2130001428701276</c:v>
                </c:pt>
                <c:pt idx="842">
                  <c:v>1.1938240426386493</c:v>
                </c:pt>
                <c:pt idx="843">
                  <c:v>1.1934199916923502</c:v>
                </c:pt>
                <c:pt idx="844">
                  <c:v>1.1970624050178753</c:v>
                </c:pt>
                <c:pt idx="845">
                  <c:v>1.185182987249741</c:v>
                </c:pt>
                <c:pt idx="846">
                  <c:v>1.1756583120329995</c:v>
                </c:pt>
                <c:pt idx="847">
                  <c:v>1.1616259906748228</c:v>
                </c:pt>
                <c:pt idx="848">
                  <c:v>1.1771806291397247</c:v>
                </c:pt>
                <c:pt idx="849">
                  <c:v>1.1859532243597117</c:v>
                </c:pt>
                <c:pt idx="850">
                  <c:v>1.18837641278087</c:v>
                </c:pt>
                <c:pt idx="851">
                  <c:v>1.1858831944968788</c:v>
                </c:pt>
                <c:pt idx="852">
                  <c:v>1.1959236116859311</c:v>
                </c:pt>
                <c:pt idx="853">
                  <c:v>1.1960987561694529</c:v>
                </c:pt>
                <c:pt idx="854">
                  <c:v>1.1669588008491774</c:v>
                </c:pt>
                <c:pt idx="855">
                  <c:v>1.1730988725827483</c:v>
                </c:pt>
                <c:pt idx="856">
                  <c:v>1.1809079372810192</c:v>
                </c:pt>
                <c:pt idx="857">
                  <c:v>1.1700890973664435</c:v>
                </c:pt>
                <c:pt idx="858">
                  <c:v>1.1784289542149224</c:v>
                </c:pt>
                <c:pt idx="859">
                  <c:v>1.1853487533705052</c:v>
                </c:pt>
                <c:pt idx="860">
                  <c:v>1.1882788334877454</c:v>
                </c:pt>
                <c:pt idx="861">
                  <c:v>1.1867411509318064</c:v>
                </c:pt>
                <c:pt idx="862">
                  <c:v>1.1807479740781259</c:v>
                </c:pt>
                <c:pt idx="863">
                  <c:v>1.1706325091890162</c:v>
                </c:pt>
                <c:pt idx="864">
                  <c:v>1.1737808939559653</c:v>
                </c:pt>
                <c:pt idx="865">
                  <c:v>1.1733857753485253</c:v>
                </c:pt>
                <c:pt idx="866">
                  <c:v>1.1754567714871926</c:v>
                </c:pt>
                <c:pt idx="867">
                  <c:v>1.1748621189637634</c:v>
                </c:pt>
                <c:pt idx="868">
                  <c:v>1.169697294382303</c:v>
                </c:pt>
                <c:pt idx="869">
                  <c:v>1.176115135493697</c:v>
                </c:pt>
                <c:pt idx="870">
                  <c:v>1.1741543833392702</c:v>
                </c:pt>
                <c:pt idx="871">
                  <c:v>1.1675036078722834</c:v>
                </c:pt>
                <c:pt idx="872">
                  <c:v>1.1548329581781305</c:v>
                </c:pt>
                <c:pt idx="873">
                  <c:v>1.1685164452162358</c:v>
                </c:pt>
                <c:pt idx="874">
                  <c:v>1.1660163459045405</c:v>
                </c:pt>
                <c:pt idx="875">
                  <c:v>1.1728356177822792</c:v>
                </c:pt>
                <c:pt idx="876">
                  <c:v>1.1636460961533102</c:v>
                </c:pt>
                <c:pt idx="877">
                  <c:v>1.1629160762612616</c:v>
                </c:pt>
                <c:pt idx="878">
                  <c:v>1.1619090119822699</c:v>
                </c:pt>
                <c:pt idx="879">
                  <c:v>1.1622217759164719</c:v>
                </c:pt>
                <c:pt idx="880">
                  <c:v>1.1598493493296587</c:v>
                </c:pt>
                <c:pt idx="881">
                  <c:v>1.1492475598215848</c:v>
                </c:pt>
                <c:pt idx="882">
                  <c:v>1.1643432106457707</c:v>
                </c:pt>
                <c:pt idx="883">
                  <c:v>1.1668184711639615</c:v>
                </c:pt>
                <c:pt idx="884">
                  <c:v>1.1796445370898445</c:v>
                </c:pt>
                <c:pt idx="885">
                  <c:v>1.1859554449408096</c:v>
                </c:pt>
                <c:pt idx="886">
                  <c:v>1.1937997052971798</c:v>
                </c:pt>
                <c:pt idx="887">
                  <c:v>1.2026140021330014</c:v>
                </c:pt>
                <c:pt idx="888">
                  <c:v>1.2008875844801603</c:v>
                </c:pt>
                <c:pt idx="889">
                  <c:v>1.1893146898914271</c:v>
                </c:pt>
                <c:pt idx="890">
                  <c:v>1.1922317878155886</c:v>
                </c:pt>
                <c:pt idx="891">
                  <c:v>1.1901992220196602</c:v>
                </c:pt>
                <c:pt idx="892">
                  <c:v>1.1790183487686889</c:v>
                </c:pt>
                <c:pt idx="893">
                  <c:v>1.1724970780969255</c:v>
                </c:pt>
                <c:pt idx="894">
                  <c:v>1.1645975224646783</c:v>
                </c:pt>
                <c:pt idx="895">
                  <c:v>1.176288894399407</c:v>
                </c:pt>
                <c:pt idx="896">
                  <c:v>1.1843520032365018</c:v>
                </c:pt>
                <c:pt idx="897">
                  <c:v>1.1977776212054063</c:v>
                </c:pt>
                <c:pt idx="898">
                  <c:v>1.2231898614008609</c:v>
                </c:pt>
                <c:pt idx="899">
                  <c:v>1.2335841330138841</c:v>
                </c:pt>
                <c:pt idx="900">
                  <c:v>1.2363011875245968</c:v>
                </c:pt>
                <c:pt idx="901">
                  <c:v>1.2479186828915301</c:v>
                </c:pt>
                <c:pt idx="902">
                  <c:v>1.2449916551846212</c:v>
                </c:pt>
                <c:pt idx="903">
                  <c:v>1.2544313051879468</c:v>
                </c:pt>
                <c:pt idx="904">
                  <c:v>1.2552312509593166</c:v>
                </c:pt>
                <c:pt idx="905">
                  <c:v>1.2616071511391687</c:v>
                </c:pt>
                <c:pt idx="906">
                  <c:v>1.2625311795202681</c:v>
                </c:pt>
                <c:pt idx="907">
                  <c:v>1.266406573894781</c:v>
                </c:pt>
                <c:pt idx="908">
                  <c:v>1.2700714188474618</c:v>
                </c:pt>
                <c:pt idx="909">
                  <c:v>1.2719483475874644</c:v>
                </c:pt>
                <c:pt idx="910">
                  <c:v>1.2610060815220874</c:v>
                </c:pt>
                <c:pt idx="911">
                  <c:v>1.2523385043343065</c:v>
                </c:pt>
                <c:pt idx="912">
                  <c:v>1.2650704988670642</c:v>
                </c:pt>
                <c:pt idx="913">
                  <c:v>1.2446181915113017</c:v>
                </c:pt>
                <c:pt idx="914">
                  <c:v>1.2241665143378113</c:v>
                </c:pt>
                <c:pt idx="915">
                  <c:v>1.2347250836148176</c:v>
                </c:pt>
                <c:pt idx="916">
                  <c:v>1.2401306546037563</c:v>
                </c:pt>
                <c:pt idx="917">
                  <c:v>1.2516573004454667</c:v>
                </c:pt>
                <c:pt idx="918">
                  <c:v>1.263638418528376</c:v>
                </c:pt>
                <c:pt idx="919">
                  <c:v>1.280374954977791</c:v>
                </c:pt>
                <c:pt idx="920">
                  <c:v>1.2598254629437151</c:v>
                </c:pt>
                <c:pt idx="921">
                  <c:v>1.2615403948651416</c:v>
                </c:pt>
                <c:pt idx="922">
                  <c:v>1.2657828566207618</c:v>
                </c:pt>
                <c:pt idx="923">
                  <c:v>1.2567365421654353</c:v>
                </c:pt>
                <c:pt idx="924">
                  <c:v>1.2578573187284738</c:v>
                </c:pt>
                <c:pt idx="925">
                  <c:v>1.2673428448374187</c:v>
                </c:pt>
                <c:pt idx="926">
                  <c:v>1.2770953429969261</c:v>
                </c:pt>
                <c:pt idx="927">
                  <c:v>1.2788152852922126</c:v>
                </c:pt>
                <c:pt idx="928">
                  <c:v>1.2806738339918959</c:v>
                </c:pt>
                <c:pt idx="929">
                  <c:v>1.2893890221705389</c:v>
                </c:pt>
                <c:pt idx="930">
                  <c:v>1.2772575582681365</c:v>
                </c:pt>
                <c:pt idx="931">
                  <c:v>1.2798073717681842</c:v>
                </c:pt>
                <c:pt idx="932">
                  <c:v>1.2818088031943893</c:v>
                </c:pt>
                <c:pt idx="933">
                  <c:v>1.2676271627626998</c:v>
                </c:pt>
                <c:pt idx="934">
                  <c:v>1.266795133151722</c:v>
                </c:pt>
                <c:pt idx="935">
                  <c:v>1.2420038770442565</c:v>
                </c:pt>
                <c:pt idx="936">
                  <c:v>1.2109914371070805</c:v>
                </c:pt>
                <c:pt idx="937">
                  <c:v>1.1964079563718533</c:v>
                </c:pt>
                <c:pt idx="938">
                  <c:v>1.2043487138013718</c:v>
                </c:pt>
                <c:pt idx="939">
                  <c:v>1.1876371833206965</c:v>
                </c:pt>
                <c:pt idx="940">
                  <c:v>1.1919332485721434</c:v>
                </c:pt>
                <c:pt idx="941">
                  <c:v>1.2089213324240173</c:v>
                </c:pt>
                <c:pt idx="942">
                  <c:v>1.1963820629848017</c:v>
                </c:pt>
                <c:pt idx="943">
                  <c:v>1.1897835759762636</c:v>
                </c:pt>
                <c:pt idx="944">
                  <c:v>1.2120711321394926</c:v>
                </c:pt>
                <c:pt idx="945">
                  <c:v>1.220405903071478</c:v>
                </c:pt>
                <c:pt idx="946">
                  <c:v>1.223015622397164</c:v>
                </c:pt>
                <c:pt idx="947">
                  <c:v>1.2294617005012269</c:v>
                </c:pt>
                <c:pt idx="948">
                  <c:v>1.2512522380953297</c:v>
                </c:pt>
                <c:pt idx="949">
                  <c:v>1.2389809591826368</c:v>
                </c:pt>
                <c:pt idx="950">
                  <c:v>1.2516445734523793</c:v>
                </c:pt>
                <c:pt idx="951">
                  <c:v>1.2547231740842202</c:v>
                </c:pt>
                <c:pt idx="952">
                  <c:v>1.2617179093313253</c:v>
                </c:pt>
                <c:pt idx="953">
                  <c:v>1.252322744842183</c:v>
                </c:pt>
                <c:pt idx="954">
                  <c:v>1.2513649779270597</c:v>
                </c:pt>
                <c:pt idx="955">
                  <c:v>1.2597518856065202</c:v>
                </c:pt>
                <c:pt idx="956">
                  <c:v>1.2578338202790271</c:v>
                </c:pt>
                <c:pt idx="957">
                  <c:v>1.25634630587936</c:v>
                </c:pt>
                <c:pt idx="958">
                  <c:v>1.2617600860437854</c:v>
                </c:pt>
                <c:pt idx="959">
                  <c:v>1.2562303391278951</c:v>
                </c:pt>
                <c:pt idx="960">
                  <c:v>1.263698738509289</c:v>
                </c:pt>
                <c:pt idx="961">
                  <c:v>1.2608367223760641</c:v>
                </c:pt>
                <c:pt idx="962">
                  <c:v>1.2615897622698884</c:v>
                </c:pt>
                <c:pt idx="963">
                  <c:v>1.2679782195033609</c:v>
                </c:pt>
                <c:pt idx="964">
                  <c:v>1.2814801581648099</c:v>
                </c:pt>
                <c:pt idx="965">
                  <c:v>1.2946397729395966</c:v>
                </c:pt>
                <c:pt idx="966">
                  <c:v>1.2912937525975978</c:v>
                </c:pt>
                <c:pt idx="967">
                  <c:v>1.2832924328395816</c:v>
                </c:pt>
                <c:pt idx="968">
                  <c:v>1.2808021157915326</c:v>
                </c:pt>
                <c:pt idx="969">
                  <c:v>1.2705085027832661</c:v>
                </c:pt>
                <c:pt idx="970">
                  <c:v>1.2632110743296052</c:v>
                </c:pt>
                <c:pt idx="971">
                  <c:v>1.2644208280344218</c:v>
                </c:pt>
                <c:pt idx="972">
                  <c:v>1.2512230584234758</c:v>
                </c:pt>
                <c:pt idx="973">
                  <c:v>1.2513522033693225</c:v>
                </c:pt>
                <c:pt idx="974">
                  <c:v>1.2777082761652954</c:v>
                </c:pt>
                <c:pt idx="975">
                  <c:v>1.2963711207964228</c:v>
                </c:pt>
                <c:pt idx="976">
                  <c:v>1.2983654766493395</c:v>
                </c:pt>
                <c:pt idx="977">
                  <c:v>1.3023643031314891</c:v>
                </c:pt>
                <c:pt idx="978">
                  <c:v>1.3171435939294922</c:v>
                </c:pt>
                <c:pt idx="979">
                  <c:v>1.2828843273585984</c:v>
                </c:pt>
                <c:pt idx="980">
                  <c:v>1.2984665588034789</c:v>
                </c:pt>
                <c:pt idx="981">
                  <c:v>1.2975434229279148</c:v>
                </c:pt>
                <c:pt idx="982">
                  <c:v>1.2803300133578095</c:v>
                </c:pt>
                <c:pt idx="983">
                  <c:v>1.2714783761179014</c:v>
                </c:pt>
                <c:pt idx="984">
                  <c:v>1.275653338178995</c:v>
                </c:pt>
                <c:pt idx="985">
                  <c:v>1.2712923489315175</c:v>
                </c:pt>
                <c:pt idx="986">
                  <c:v>1.2758055751466415</c:v>
                </c:pt>
                <c:pt idx="987">
                  <c:v>1.2637209275882062</c:v>
                </c:pt>
                <c:pt idx="988">
                  <c:v>1.2535635730434049</c:v>
                </c:pt>
                <c:pt idx="989">
                  <c:v>1.2429795815853812</c:v>
                </c:pt>
                <c:pt idx="990">
                  <c:v>1.2478944060619732</c:v>
                </c:pt>
                <c:pt idx="991">
                  <c:v>1.2493380468002244</c:v>
                </c:pt>
                <c:pt idx="992">
                  <c:v>1.2449602564693425</c:v>
                </c:pt>
                <c:pt idx="993">
                  <c:v>1.2437945558810037</c:v>
                </c:pt>
                <c:pt idx="994">
                  <c:v>1.2604080931049002</c:v>
                </c:pt>
                <c:pt idx="995">
                  <c:v>1.2629940788675453</c:v>
                </c:pt>
                <c:pt idx="996">
                  <c:v>1.2747967232040045</c:v>
                </c:pt>
                <c:pt idx="997">
                  <c:v>1.242669194570186</c:v>
                </c:pt>
                <c:pt idx="998">
                  <c:v>1.243546875481875</c:v>
                </c:pt>
                <c:pt idx="999">
                  <c:v>1.2418160037776214</c:v>
                </c:pt>
                <c:pt idx="1000">
                  <c:v>1.2505352796652247</c:v>
                </c:pt>
                <c:pt idx="1001">
                  <c:v>1.2512966613543126</c:v>
                </c:pt>
                <c:pt idx="1002">
                  <c:v>1.2489164108374176</c:v>
                </c:pt>
                <c:pt idx="1003">
                  <c:v>1.245220192853745</c:v>
                </c:pt>
                <c:pt idx="1004">
                  <c:v>1.2624350609567205</c:v>
                </c:pt>
                <c:pt idx="1005">
                  <c:v>1.2666862948784465</c:v>
                </c:pt>
                <c:pt idx="1006">
                  <c:v>1.2625030684007359</c:v>
                </c:pt>
                <c:pt idx="1007">
                  <c:v>1.2830726445938794</c:v>
                </c:pt>
                <c:pt idx="1008">
                  <c:v>1.2896279598263907</c:v>
                </c:pt>
                <c:pt idx="1009">
                  <c:v>1.2492860725029202</c:v>
                </c:pt>
                <c:pt idx="1010">
                  <c:v>1.2573682506226296</c:v>
                </c:pt>
                <c:pt idx="1011">
                  <c:v>1.2539821930554134</c:v>
                </c:pt>
                <c:pt idx="1012">
                  <c:v>1.2476083766189263</c:v>
                </c:pt>
                <c:pt idx="1013">
                  <c:v>1.2001295151575395</c:v>
                </c:pt>
                <c:pt idx="1014">
                  <c:v>1.2006982469164116</c:v>
                </c:pt>
                <c:pt idx="1015">
                  <c:v>1.2168178277888011</c:v>
                </c:pt>
                <c:pt idx="1016">
                  <c:v>1.2066712991911412</c:v>
                </c:pt>
                <c:pt idx="1017">
                  <c:v>1.2323854959171197</c:v>
                </c:pt>
                <c:pt idx="1018">
                  <c:v>1.2572051633026349</c:v>
                </c:pt>
                <c:pt idx="1019">
                  <c:v>1.2508270305785887</c:v>
                </c:pt>
                <c:pt idx="1020">
                  <c:v>1.2535089822892183</c:v>
                </c:pt>
                <c:pt idx="1021">
                  <c:v>1.2715630239324971</c:v>
                </c:pt>
                <c:pt idx="1022">
                  <c:v>1.282713377479372</c:v>
                </c:pt>
                <c:pt idx="1023">
                  <c:v>1.2843927053939075</c:v>
                </c:pt>
                <c:pt idx="1024">
                  <c:v>1.2880210331695341</c:v>
                </c:pt>
                <c:pt idx="1025">
                  <c:v>1.2872560930540387</c:v>
                </c:pt>
                <c:pt idx="1026">
                  <c:v>1.2937059642540185</c:v>
                </c:pt>
                <c:pt idx="1027">
                  <c:v>1.3227095274667455</c:v>
                </c:pt>
                <c:pt idx="1028">
                  <c:v>1.3232929714757833</c:v>
                </c:pt>
                <c:pt idx="1029">
                  <c:v>1.307993594914002</c:v>
                </c:pt>
                <c:pt idx="1030">
                  <c:v>1.2979520368369959</c:v>
                </c:pt>
                <c:pt idx="1031">
                  <c:v>1.2975013421511572</c:v>
                </c:pt>
                <c:pt idx="1032">
                  <c:v>1.2822775878956281</c:v>
                </c:pt>
                <c:pt idx="1033">
                  <c:v>1.2967224608610473</c:v>
                </c:pt>
                <c:pt idx="1034">
                  <c:v>1.3018923812296226</c:v>
                </c:pt>
                <c:pt idx="1035">
                  <c:v>1.3171606061586614</c:v>
                </c:pt>
                <c:pt idx="1036">
                  <c:v>1.3241266245694927</c:v>
                </c:pt>
                <c:pt idx="1037">
                  <c:v>1.341651426335505</c:v>
                </c:pt>
                <c:pt idx="1038">
                  <c:v>1.3351528056472681</c:v>
                </c:pt>
                <c:pt idx="1039">
                  <c:v>1.3355321684536217</c:v>
                </c:pt>
                <c:pt idx="1040">
                  <c:v>1.3504248347857339</c:v>
                </c:pt>
                <c:pt idx="1041">
                  <c:v>1.3374195698336624</c:v>
                </c:pt>
                <c:pt idx="1042">
                  <c:v>1.3429370398598113</c:v>
                </c:pt>
                <c:pt idx="1043">
                  <c:v>1.3499096016553827</c:v>
                </c:pt>
                <c:pt idx="1044">
                  <c:v>1.3734639854309709</c:v>
                </c:pt>
                <c:pt idx="1045">
                  <c:v>1.3868047627897948</c:v>
                </c:pt>
                <c:pt idx="1046">
                  <c:v>1.3878448614456074</c:v>
                </c:pt>
                <c:pt idx="1047">
                  <c:v>1.4006182302007333</c:v>
                </c:pt>
                <c:pt idx="1048">
                  <c:v>1.4151007310472352</c:v>
                </c:pt>
                <c:pt idx="1049">
                  <c:v>1.4366022284953357</c:v>
                </c:pt>
                <c:pt idx="1050">
                  <c:v>1.4245244682805718</c:v>
                </c:pt>
                <c:pt idx="1051">
                  <c:v>1.4257496150676479</c:v>
                </c:pt>
                <c:pt idx="1052">
                  <c:v>1.4223883922745217</c:v>
                </c:pt>
                <c:pt idx="1053">
                  <c:v>1.4194971845290623</c:v>
                </c:pt>
                <c:pt idx="1054">
                  <c:v>1.4143784277765934</c:v>
                </c:pt>
                <c:pt idx="1055">
                  <c:v>1.4317592090874569</c:v>
                </c:pt>
                <c:pt idx="1056">
                  <c:v>1.4391341296766123</c:v>
                </c:pt>
                <c:pt idx="1057">
                  <c:v>1.4447292182293028</c:v>
                </c:pt>
                <c:pt idx="1058">
                  <c:v>1.4464152935342545</c:v>
                </c:pt>
                <c:pt idx="1059">
                  <c:v>1.456040307203466</c:v>
                </c:pt>
                <c:pt idx="1060">
                  <c:v>1.4530068376733496</c:v>
                </c:pt>
                <c:pt idx="1061">
                  <c:v>1.4462677110963356</c:v>
                </c:pt>
                <c:pt idx="1062">
                  <c:v>1.4468702586523667</c:v>
                </c:pt>
                <c:pt idx="1063">
                  <c:v>1.4396461464391135</c:v>
                </c:pt>
                <c:pt idx="1064">
                  <c:v>1.437559610652845</c:v>
                </c:pt>
                <c:pt idx="1065">
                  <c:v>1.4594130326345358</c:v>
                </c:pt>
                <c:pt idx="1066">
                  <c:v>1.455724337046757</c:v>
                </c:pt>
                <c:pt idx="1067">
                  <c:v>1.4514534603729303</c:v>
                </c:pt>
                <c:pt idx="1068">
                  <c:v>1.4655726379369769</c:v>
                </c:pt>
                <c:pt idx="1069">
                  <c:v>1.462841196556959</c:v>
                </c:pt>
                <c:pt idx="1070">
                  <c:v>1.4690986832629693</c:v>
                </c:pt>
                <c:pt idx="1071">
                  <c:v>1.4673733392702684</c:v>
                </c:pt>
                <c:pt idx="1072">
                  <c:v>1.4747495076246211</c:v>
                </c:pt>
                <c:pt idx="1073">
                  <c:v>1.4968391863563486</c:v>
                </c:pt>
                <c:pt idx="1074">
                  <c:v>1.4841948930834861</c:v>
                </c:pt>
                <c:pt idx="1075">
                  <c:v>1.5015063829679123</c:v>
                </c:pt>
                <c:pt idx="1076">
                  <c:v>1.5043099600388616</c:v>
                </c:pt>
                <c:pt idx="1077">
                  <c:v>1.4971814514922126</c:v>
                </c:pt>
                <c:pt idx="1078">
                  <c:v>1.490931919660424</c:v>
                </c:pt>
                <c:pt idx="1079">
                  <c:v>1.5102239339058858</c:v>
                </c:pt>
                <c:pt idx="1080">
                  <c:v>1.5320660993763704</c:v>
                </c:pt>
                <c:pt idx="1081">
                  <c:v>1.5267069710042194</c:v>
                </c:pt>
                <c:pt idx="1082">
                  <c:v>1.5466305237695686</c:v>
                </c:pt>
                <c:pt idx="1083">
                  <c:v>1.5422959143162314</c:v>
                </c:pt>
                <c:pt idx="1084">
                  <c:v>1.5283295606711131</c:v>
                </c:pt>
                <c:pt idx="1085">
                  <c:v>1.5182032680045567</c:v>
                </c:pt>
                <c:pt idx="1086">
                  <c:v>1.5306089917401144</c:v>
                </c:pt>
                <c:pt idx="1087">
                  <c:v>1.5135659751607657</c:v>
                </c:pt>
                <c:pt idx="1088">
                  <c:v>1.4861988758857543</c:v>
                </c:pt>
                <c:pt idx="1089">
                  <c:v>1.4810923408535936</c:v>
                </c:pt>
                <c:pt idx="1090">
                  <c:v>1.4792904529482054</c:v>
                </c:pt>
                <c:pt idx="1091">
                  <c:v>1.4699091777667439</c:v>
                </c:pt>
                <c:pt idx="1092">
                  <c:v>1.4816952132339054</c:v>
                </c:pt>
                <c:pt idx="1093">
                  <c:v>1.4749227097163162</c:v>
                </c:pt>
                <c:pt idx="1094">
                  <c:v>1.4793127850388872</c:v>
                </c:pt>
                <c:pt idx="1095">
                  <c:v>1.493339047732785</c:v>
                </c:pt>
                <c:pt idx="1096">
                  <c:v>1.4895184741453449</c:v>
                </c:pt>
                <c:pt idx="1097">
                  <c:v>1.5062755268770891</c:v>
                </c:pt>
                <c:pt idx="1098">
                  <c:v>1.4901708854464404</c:v>
                </c:pt>
                <c:pt idx="1099">
                  <c:v>1.4889319228674476</c:v>
                </c:pt>
                <c:pt idx="1100">
                  <c:v>1.4795212714793955</c:v>
                </c:pt>
                <c:pt idx="1101">
                  <c:v>1.4889034345782299</c:v>
                </c:pt>
                <c:pt idx="1102">
                  <c:v>1.4971927028066765</c:v>
                </c:pt>
                <c:pt idx="1103">
                  <c:v>1.4985923271386827</c:v>
                </c:pt>
                <c:pt idx="1104">
                  <c:v>1.508984477366252</c:v>
                </c:pt>
                <c:pt idx="1105">
                  <c:v>1.5139938971414661</c:v>
                </c:pt>
                <c:pt idx="1106">
                  <c:v>1.4893658967861214</c:v>
                </c:pt>
                <c:pt idx="1107">
                  <c:v>1.4806157949786982</c:v>
                </c:pt>
                <c:pt idx="1108">
                  <c:v>1.4800080823058577</c:v>
                </c:pt>
                <c:pt idx="1109">
                  <c:v>1.4957107386928252</c:v>
                </c:pt>
                <c:pt idx="1110">
                  <c:v>1.5056129266981757</c:v>
                </c:pt>
                <c:pt idx="1111">
                  <c:v>1.5260231133929645</c:v>
                </c:pt>
                <c:pt idx="1112">
                  <c:v>1.5233554629438688</c:v>
                </c:pt>
                <c:pt idx="1113">
                  <c:v>1.5112956088774085</c:v>
                </c:pt>
                <c:pt idx="1114">
                  <c:v>1.5009151897781989</c:v>
                </c:pt>
                <c:pt idx="1115">
                  <c:v>1.4981104959061169</c:v>
                </c:pt>
                <c:pt idx="1116">
                  <c:v>1.4987648479571769</c:v>
                </c:pt>
                <c:pt idx="1117">
                  <c:v>1.4952682958578589</c:v>
                </c:pt>
                <c:pt idx="1118">
                  <c:v>1.5001891338888473</c:v>
                </c:pt>
                <c:pt idx="1119">
                  <c:v>1.5214143718720416</c:v>
                </c:pt>
                <c:pt idx="1120">
                  <c:v>1.5229622183494955</c:v>
                </c:pt>
                <c:pt idx="1121">
                  <c:v>1.5194399677139494</c:v>
                </c:pt>
                <c:pt idx="1122">
                  <c:v>1.5291917386557257</c:v>
                </c:pt>
                <c:pt idx="1123">
                  <c:v>1.5163103117486241</c:v>
                </c:pt>
                <c:pt idx="1124">
                  <c:v>1.4782815191364849</c:v>
                </c:pt>
                <c:pt idx="1125">
                  <c:v>1.482872079714189</c:v>
                </c:pt>
                <c:pt idx="1126">
                  <c:v>1.5097567214695451</c:v>
                </c:pt>
                <c:pt idx="1127">
                  <c:v>1.5154410396339437</c:v>
                </c:pt>
                <c:pt idx="1128">
                  <c:v>1.5172421603434771</c:v>
                </c:pt>
                <c:pt idx="1129">
                  <c:v>1.5254551650720589</c:v>
                </c:pt>
                <c:pt idx="1130">
                  <c:v>1.5281959932251894</c:v>
                </c:pt>
                <c:pt idx="1131">
                  <c:v>1.5279010327524645</c:v>
                </c:pt>
                <c:pt idx="1132">
                  <c:v>1.5177470798553654</c:v>
                </c:pt>
                <c:pt idx="1133">
                  <c:v>1.5190903045195197</c:v>
                </c:pt>
                <c:pt idx="1134">
                  <c:v>1.5333279599946221</c:v>
                </c:pt>
                <c:pt idx="1135">
                  <c:v>1.5518659996961066</c:v>
                </c:pt>
                <c:pt idx="1136">
                  <c:v>1.5566715221748044</c:v>
                </c:pt>
                <c:pt idx="1137">
                  <c:v>1.5620826119276459</c:v>
                </c:pt>
                <c:pt idx="1138">
                  <c:v>1.5659821447800883</c:v>
                </c:pt>
                <c:pt idx="1139">
                  <c:v>1.5680515884836508</c:v>
                </c:pt>
                <c:pt idx="1140">
                  <c:v>1.5717368984798388</c:v>
                </c:pt>
                <c:pt idx="1141">
                  <c:v>1.5770599738530022</c:v>
                </c:pt>
                <c:pt idx="1142">
                  <c:v>1.5811160233959791</c:v>
                </c:pt>
                <c:pt idx="1143">
                  <c:v>1.5849868747577822</c:v>
                </c:pt>
                <c:pt idx="1144">
                  <c:v>1.5959900593126768</c:v>
                </c:pt>
                <c:pt idx="1145">
                  <c:v>1.6040242003193113</c:v>
                </c:pt>
                <c:pt idx="1146">
                  <c:v>1.6033799391838028</c:v>
                </c:pt>
                <c:pt idx="1147">
                  <c:v>1.6169855954086343</c:v>
                </c:pt>
                <c:pt idx="1148">
                  <c:v>1.6196622653199348</c:v>
                </c:pt>
                <c:pt idx="1149">
                  <c:v>1.623221660886726</c:v>
                </c:pt>
                <c:pt idx="1150">
                  <c:v>1.6013958016096508</c:v>
                </c:pt>
                <c:pt idx="1151">
                  <c:v>1.6129742471402628</c:v>
                </c:pt>
                <c:pt idx="1152">
                  <c:v>1.6251558259755354</c:v>
                </c:pt>
                <c:pt idx="1153">
                  <c:v>1.6234615024135111</c:v>
                </c:pt>
                <c:pt idx="1154">
                  <c:v>1.6279573961747991</c:v>
                </c:pt>
                <c:pt idx="1155">
                  <c:v>1.6389930319215067</c:v>
                </c:pt>
                <c:pt idx="1156">
                  <c:v>1.6247570483755285</c:v>
                </c:pt>
                <c:pt idx="1157">
                  <c:v>1.6335891398872273</c:v>
                </c:pt>
                <c:pt idx="1158">
                  <c:v>1.6386840403040017</c:v>
                </c:pt>
                <c:pt idx="1159">
                  <c:v>1.6496472568908114</c:v>
                </c:pt>
                <c:pt idx="1160">
                  <c:v>1.6476926005615653</c:v>
                </c:pt>
                <c:pt idx="1161">
                  <c:v>1.63148941036637</c:v>
                </c:pt>
                <c:pt idx="1162">
                  <c:v>1.638871480345014</c:v>
                </c:pt>
                <c:pt idx="1163">
                  <c:v>1.6328026147991139</c:v>
                </c:pt>
                <c:pt idx="1164">
                  <c:v>1.6526359639156358</c:v>
                </c:pt>
                <c:pt idx="1165">
                  <c:v>1.6620305313598021</c:v>
                </c:pt>
                <c:pt idx="1166">
                  <c:v>1.6664294646815219</c:v>
                </c:pt>
                <c:pt idx="1167">
                  <c:v>1.6722161330775125</c:v>
                </c:pt>
                <c:pt idx="1168">
                  <c:v>1.6718239196146953</c:v>
                </c:pt>
                <c:pt idx="1169">
                  <c:v>1.6720976912524295</c:v>
                </c:pt>
                <c:pt idx="1170">
                  <c:v>1.6776931057578042</c:v>
                </c:pt>
                <c:pt idx="1171">
                  <c:v>1.6730036966190238</c:v>
                </c:pt>
                <c:pt idx="1172">
                  <c:v>1.6772482580515837</c:v>
                </c:pt>
                <c:pt idx="1173">
                  <c:v>1.6971133001974446</c:v>
                </c:pt>
                <c:pt idx="1174">
                  <c:v>1.7139594386876829</c:v>
                </c:pt>
                <c:pt idx="1175">
                  <c:v>1.7313609547185875</c:v>
                </c:pt>
                <c:pt idx="1176">
                  <c:v>1.7360898042871538</c:v>
                </c:pt>
                <c:pt idx="1177">
                  <c:v>1.7343539291968717</c:v>
                </c:pt>
                <c:pt idx="1178">
                  <c:v>1.7206582552587544</c:v>
                </c:pt>
                <c:pt idx="1179">
                  <c:v>1.7097124459555075</c:v>
                </c:pt>
                <c:pt idx="1180">
                  <c:v>1.7014580726380601</c:v>
                </c:pt>
                <c:pt idx="1181">
                  <c:v>1.6927204461719114</c:v>
                </c:pt>
                <c:pt idx="1182">
                  <c:v>1.6927175315270053</c:v>
                </c:pt>
                <c:pt idx="1183">
                  <c:v>1.6727857376707558</c:v>
                </c:pt>
                <c:pt idx="1184">
                  <c:v>1.6801470420913722</c:v>
                </c:pt>
                <c:pt idx="1185">
                  <c:v>1.6937292287411914</c:v>
                </c:pt>
                <c:pt idx="1186">
                  <c:v>1.7010836503024711</c:v>
                </c:pt>
                <c:pt idx="1187">
                  <c:v>1.7202776126782826</c:v>
                </c:pt>
                <c:pt idx="1188">
                  <c:v>1.7166491956935455</c:v>
                </c:pt>
                <c:pt idx="1189">
                  <c:v>1.7072061070451596</c:v>
                </c:pt>
                <c:pt idx="1190">
                  <c:v>1.6870707308137904</c:v>
                </c:pt>
                <c:pt idx="1191">
                  <c:v>1.6923570871545277</c:v>
                </c:pt>
                <c:pt idx="1192">
                  <c:v>1.6964480061686049</c:v>
                </c:pt>
                <c:pt idx="1193">
                  <c:v>1.6875091933621014</c:v>
                </c:pt>
                <c:pt idx="1194">
                  <c:v>1.7037265736654787</c:v>
                </c:pt>
                <c:pt idx="1195">
                  <c:v>1.7115046805201184</c:v>
                </c:pt>
                <c:pt idx="1196">
                  <c:v>1.7083670528648192</c:v>
                </c:pt>
                <c:pt idx="1197">
                  <c:v>1.7110097602590892</c:v>
                </c:pt>
                <c:pt idx="1198">
                  <c:v>1.7170774238913677</c:v>
                </c:pt>
                <c:pt idx="1199">
                  <c:v>1.721611984025702</c:v>
                </c:pt>
                <c:pt idx="1200">
                  <c:v>1.7292264207996553</c:v>
                </c:pt>
                <c:pt idx="1201">
                  <c:v>1.7225777997919536</c:v>
                </c:pt>
                <c:pt idx="1202">
                  <c:v>1.7085202415622616</c:v>
                </c:pt>
                <c:pt idx="1203">
                  <c:v>1.6999845418315092</c:v>
                </c:pt>
                <c:pt idx="1204">
                  <c:v>1.708074697553021</c:v>
                </c:pt>
                <c:pt idx="1205">
                  <c:v>1.7112291026119599</c:v>
                </c:pt>
                <c:pt idx="1206">
                  <c:v>1.7056937967108614</c:v>
                </c:pt>
                <c:pt idx="1207">
                  <c:v>1.7012800178927645</c:v>
                </c:pt>
                <c:pt idx="1208">
                  <c:v>1.6951724262655332</c:v>
                </c:pt>
                <c:pt idx="1209">
                  <c:v>1.7067683886594944</c:v>
                </c:pt>
                <c:pt idx="1210">
                  <c:v>1.7193607479706314</c:v>
                </c:pt>
                <c:pt idx="1211">
                  <c:v>1.722257501366403</c:v>
                </c:pt>
                <c:pt idx="1212">
                  <c:v>1.740124731790428</c:v>
                </c:pt>
                <c:pt idx="1213">
                  <c:v>1.7519606999252957</c:v>
                </c:pt>
                <c:pt idx="1214">
                  <c:v>1.7649352046842615</c:v>
                </c:pt>
                <c:pt idx="1215">
                  <c:v>1.779371198580761</c:v>
                </c:pt>
                <c:pt idx="1216">
                  <c:v>1.7554129838530368</c:v>
                </c:pt>
                <c:pt idx="1217">
                  <c:v>1.7435231682096557</c:v>
                </c:pt>
                <c:pt idx="1218">
                  <c:v>1.7469149923003149</c:v>
                </c:pt>
                <c:pt idx="1219">
                  <c:v>1.7511339576891567</c:v>
                </c:pt>
                <c:pt idx="1220">
                  <c:v>1.7822802161234792</c:v>
                </c:pt>
                <c:pt idx="1221">
                  <c:v>1.8246929397279779</c:v>
                </c:pt>
                <c:pt idx="1222">
                  <c:v>1.8302371368103549</c:v>
                </c:pt>
                <c:pt idx="1223">
                  <c:v>1.8346982383400212</c:v>
                </c:pt>
                <c:pt idx="1224">
                  <c:v>1.8328997891341958</c:v>
                </c:pt>
                <c:pt idx="1225">
                  <c:v>1.8464270243287233</c:v>
                </c:pt>
                <c:pt idx="1226">
                  <c:v>1.8616022401314283</c:v>
                </c:pt>
                <c:pt idx="1227">
                  <c:v>1.8533013589769647</c:v>
                </c:pt>
                <c:pt idx="1228">
                  <c:v>1.8494541634613497</c:v>
                </c:pt>
                <c:pt idx="1229">
                  <c:v>1.8720133433511494</c:v>
                </c:pt>
                <c:pt idx="1230">
                  <c:v>1.8888796671803088</c:v>
                </c:pt>
                <c:pt idx="1231">
                  <c:v>1.8966545428919388</c:v>
                </c:pt>
                <c:pt idx="1232">
                  <c:v>1.8999953778377368</c:v>
                </c:pt>
                <c:pt idx="1233">
                  <c:v>1.9127683072127861</c:v>
                </c:pt>
                <c:pt idx="1234">
                  <c:v>1.906885906510746</c:v>
                </c:pt>
                <c:pt idx="1235">
                  <c:v>1.9090405268120372</c:v>
                </c:pt>
                <c:pt idx="1236">
                  <c:v>1.9140271528319253</c:v>
                </c:pt>
                <c:pt idx="1237">
                  <c:v>1.9126883533587948</c:v>
                </c:pt>
                <c:pt idx="1238">
                  <c:v>1.9333536834871603</c:v>
                </c:pt>
                <c:pt idx="1239">
                  <c:v>1.9440191065788808</c:v>
                </c:pt>
                <c:pt idx="1240">
                  <c:v>1.9576329346316415</c:v>
                </c:pt>
                <c:pt idx="1241">
                  <c:v>1.9849629900405914</c:v>
                </c:pt>
                <c:pt idx="1242">
                  <c:v>1.9773382194772531</c:v>
                </c:pt>
                <c:pt idx="1243">
                  <c:v>1.9725886946868143</c:v>
                </c:pt>
                <c:pt idx="1244">
                  <c:v>1.9891629386021197</c:v>
                </c:pt>
                <c:pt idx="1245">
                  <c:v>1.9727946235971265</c:v>
                </c:pt>
                <c:pt idx="1246">
                  <c:v>1.9719380469209562</c:v>
                </c:pt>
                <c:pt idx="1247">
                  <c:v>1.9640525821063577</c:v>
                </c:pt>
                <c:pt idx="1248">
                  <c:v>1.9437872100013545</c:v>
                </c:pt>
                <c:pt idx="1249">
                  <c:v>1.9517336002776997</c:v>
                </c:pt>
                <c:pt idx="1250">
                  <c:v>1.9489942509304727</c:v>
                </c:pt>
                <c:pt idx="1251">
                  <c:v>1.9329732225821423</c:v>
                </c:pt>
                <c:pt idx="1252">
                  <c:v>1.9287665897090431</c:v>
                </c:pt>
                <c:pt idx="1253">
                  <c:v>1.936929012176495</c:v>
                </c:pt>
                <c:pt idx="1254">
                  <c:v>1.9404539704983825</c:v>
                </c:pt>
                <c:pt idx="1255">
                  <c:v>1.9297830164779544</c:v>
                </c:pt>
                <c:pt idx="1256">
                  <c:v>1.9551285718797073</c:v>
                </c:pt>
                <c:pt idx="1257">
                  <c:v>1.9760383246481921</c:v>
                </c:pt>
                <c:pt idx="1258">
                  <c:v>1.9962787014686343</c:v>
                </c:pt>
                <c:pt idx="1259">
                  <c:v>1.9973628402578689</c:v>
                </c:pt>
                <c:pt idx="1260">
                  <c:v>1.97731939436287</c:v>
                </c:pt>
                <c:pt idx="1261">
                  <c:v>1.9752858966170144</c:v>
                </c:pt>
                <c:pt idx="1262">
                  <c:v>1.9757035549627189</c:v>
                </c:pt>
                <c:pt idx="1263">
                  <c:v>1.9965507924496289</c:v>
                </c:pt>
                <c:pt idx="1264">
                  <c:v>1.9995547924256831</c:v>
                </c:pt>
                <c:pt idx="1265">
                  <c:v>1.996887520549067</c:v>
                </c:pt>
                <c:pt idx="1266">
                  <c:v>1.9871280076817743</c:v>
                </c:pt>
                <c:pt idx="1267">
                  <c:v>1.9863098554496901</c:v>
                </c:pt>
                <c:pt idx="1268">
                  <c:v>1.9759402320357853</c:v>
                </c:pt>
                <c:pt idx="1269">
                  <c:v>1.980387288235639</c:v>
                </c:pt>
                <c:pt idx="1270">
                  <c:v>1.9780883665612343</c:v>
                </c:pt>
                <c:pt idx="1271">
                  <c:v>1.9730350996075663</c:v>
                </c:pt>
                <c:pt idx="1272">
                  <c:v>1.9670415171883167</c:v>
                </c:pt>
                <c:pt idx="1273">
                  <c:v>1.9754648568454745</c:v>
                </c:pt>
                <c:pt idx="1274">
                  <c:v>1.9807772435967141</c:v>
                </c:pt>
                <c:pt idx="1275">
                  <c:v>2.0174459174247565</c:v>
                </c:pt>
                <c:pt idx="1276">
                  <c:v>2.0388458270139069</c:v>
                </c:pt>
                <c:pt idx="1277">
                  <c:v>2.0270756936930803</c:v>
                </c:pt>
                <c:pt idx="1278">
                  <c:v>2.0201494658593373</c:v>
                </c:pt>
                <c:pt idx="1279">
                  <c:v>2.038248626605399</c:v>
                </c:pt>
                <c:pt idx="1280">
                  <c:v>2.0359920975455559</c:v>
                </c:pt>
                <c:pt idx="1281">
                  <c:v>2.0391443960006983</c:v>
                </c:pt>
                <c:pt idx="1282">
                  <c:v>2.0224304301136717</c:v>
                </c:pt>
                <c:pt idx="1283">
                  <c:v>2.0237025391948888</c:v>
                </c:pt>
                <c:pt idx="1284">
                  <c:v>2.0174828008816075</c:v>
                </c:pt>
                <c:pt idx="1285">
                  <c:v>2.0016868250322677</c:v>
                </c:pt>
                <c:pt idx="1286">
                  <c:v>1.9962076691381307</c:v>
                </c:pt>
                <c:pt idx="1287">
                  <c:v>2.000252187992964</c:v>
                </c:pt>
                <c:pt idx="1288">
                  <c:v>1.9766956339447703</c:v>
                </c:pt>
                <c:pt idx="1289">
                  <c:v>1.9579438017167088</c:v>
                </c:pt>
                <c:pt idx="1290">
                  <c:v>1.9602813444382683</c:v>
                </c:pt>
                <c:pt idx="1291">
                  <c:v>1.9404446976814191</c:v>
                </c:pt>
                <c:pt idx="1292">
                  <c:v>1.931041914869593</c:v>
                </c:pt>
                <c:pt idx="1293">
                  <c:v>1.9297387216704094</c:v>
                </c:pt>
                <c:pt idx="1294">
                  <c:v>1.9128574377458623</c:v>
                </c:pt>
                <c:pt idx="1295">
                  <c:v>1.8921447439514758</c:v>
                </c:pt>
                <c:pt idx="1296">
                  <c:v>1.8575300043404017</c:v>
                </c:pt>
                <c:pt idx="1297">
                  <c:v>1.8571364923296276</c:v>
                </c:pt>
                <c:pt idx="1298">
                  <c:v>1.8689414968074498</c:v>
                </c:pt>
                <c:pt idx="1299">
                  <c:v>1.8445678571227764</c:v>
                </c:pt>
                <c:pt idx="1300">
                  <c:v>1.8535229195373721</c:v>
                </c:pt>
                <c:pt idx="1301">
                  <c:v>1.8490434863682541</c:v>
                </c:pt>
                <c:pt idx="1302">
                  <c:v>1.8163072007064363</c:v>
                </c:pt>
                <c:pt idx="1303">
                  <c:v>1.7678619755009737</c:v>
                </c:pt>
                <c:pt idx="1304">
                  <c:v>1.7639703869310019</c:v>
                </c:pt>
                <c:pt idx="1305">
                  <c:v>1.789996342046033</c:v>
                </c:pt>
                <c:pt idx="1306">
                  <c:v>1.8141517592773921</c:v>
                </c:pt>
                <c:pt idx="1307">
                  <c:v>1.8048042634376191</c:v>
                </c:pt>
                <c:pt idx="1308">
                  <c:v>1.8226573883827197</c:v>
                </c:pt>
                <c:pt idx="1309">
                  <c:v>1.8298323852315979</c:v>
                </c:pt>
                <c:pt idx="1310">
                  <c:v>1.8284839904878643</c:v>
                </c:pt>
                <c:pt idx="1311">
                  <c:v>1.8313193271185562</c:v>
                </c:pt>
                <c:pt idx="1312">
                  <c:v>1.8379275313730692</c:v>
                </c:pt>
                <c:pt idx="1313">
                  <c:v>1.8263502391588624</c:v>
                </c:pt>
                <c:pt idx="1314">
                  <c:v>1.8188752698539397</c:v>
                </c:pt>
                <c:pt idx="1315">
                  <c:v>1.792765106750517</c:v>
                </c:pt>
                <c:pt idx="1316">
                  <c:v>1.8092843498013045</c:v>
                </c:pt>
                <c:pt idx="1317">
                  <c:v>1.8153858736268875</c:v>
                </c:pt>
                <c:pt idx="1318">
                  <c:v>1.8086117792532379</c:v>
                </c:pt>
                <c:pt idx="1319">
                  <c:v>1.7930498750844035</c:v>
                </c:pt>
                <c:pt idx="1320">
                  <c:v>1.8146557850450491</c:v>
                </c:pt>
                <c:pt idx="1321">
                  <c:v>1.8172485782939254</c:v>
                </c:pt>
                <c:pt idx="1322">
                  <c:v>1.8491482220502691</c:v>
                </c:pt>
                <c:pt idx="1323">
                  <c:v>1.8447104727637238</c:v>
                </c:pt>
                <c:pt idx="1324">
                  <c:v>1.8209557884778493</c:v>
                </c:pt>
                <c:pt idx="1325">
                  <c:v>1.7709115952021612</c:v>
                </c:pt>
                <c:pt idx="1326">
                  <c:v>1.784652170662697</c:v>
                </c:pt>
                <c:pt idx="1327">
                  <c:v>1.7657583277639537</c:v>
                </c:pt>
                <c:pt idx="1328">
                  <c:v>1.7530437507647856</c:v>
                </c:pt>
                <c:pt idx="1329">
                  <c:v>1.7266081444177381</c:v>
                </c:pt>
                <c:pt idx="1330">
                  <c:v>1.7491045748044209</c:v>
                </c:pt>
                <c:pt idx="1331">
                  <c:v>1.7175624788421788</c:v>
                </c:pt>
                <c:pt idx="1332">
                  <c:v>1.7083345967026313</c:v>
                </c:pt>
                <c:pt idx="1333">
                  <c:v>1.7018713047039118</c:v>
                </c:pt>
                <c:pt idx="1334">
                  <c:v>1.7123656863024677</c:v>
                </c:pt>
                <c:pt idx="1335">
                  <c:v>1.7402034280992673</c:v>
                </c:pt>
                <c:pt idx="1336">
                  <c:v>1.75774542548169</c:v>
                </c:pt>
                <c:pt idx="1337">
                  <c:v>1.7733164473831824</c:v>
                </c:pt>
                <c:pt idx="1338">
                  <c:v>1.7586356524219739</c:v>
                </c:pt>
                <c:pt idx="1339">
                  <c:v>1.7566890628821739</c:v>
                </c:pt>
                <c:pt idx="1340">
                  <c:v>1.7730468337155791</c:v>
                </c:pt>
                <c:pt idx="1341">
                  <c:v>1.7093652146946974</c:v>
                </c:pt>
                <c:pt idx="1342">
                  <c:v>1.718768657371897</c:v>
                </c:pt>
                <c:pt idx="1343">
                  <c:v>1.7264677163128423</c:v>
                </c:pt>
                <c:pt idx="1344">
                  <c:v>1.7364096956362436</c:v>
                </c:pt>
                <c:pt idx="1345">
                  <c:v>1.7024827580142523</c:v>
                </c:pt>
                <c:pt idx="1346">
                  <c:v>1.6933531253912804</c:v>
                </c:pt>
                <c:pt idx="1347">
                  <c:v>1.6875772272680241</c:v>
                </c:pt>
                <c:pt idx="1348">
                  <c:v>1.6867286042285761</c:v>
                </c:pt>
                <c:pt idx="1349">
                  <c:v>1.6809415465695252</c:v>
                </c:pt>
                <c:pt idx="1350">
                  <c:v>1.6686247926335436</c:v>
                </c:pt>
                <c:pt idx="1351">
                  <c:v>1.6632873704706514</c:v>
                </c:pt>
                <c:pt idx="1352">
                  <c:v>1.6443342055418542</c:v>
                </c:pt>
                <c:pt idx="1353">
                  <c:v>1.6665932153734495</c:v>
                </c:pt>
                <c:pt idx="1354">
                  <c:v>1.6621832045607776</c:v>
                </c:pt>
                <c:pt idx="1355">
                  <c:v>1.6593695851208625</c:v>
                </c:pt>
                <c:pt idx="1356">
                  <c:v>1.6558269485588613</c:v>
                </c:pt>
                <c:pt idx="1357">
                  <c:v>1.6491907812388704</c:v>
                </c:pt>
                <c:pt idx="1358">
                  <c:v>1.6485305410120699</c:v>
                </c:pt>
                <c:pt idx="1359">
                  <c:v>1.6344687675226217</c:v>
                </c:pt>
                <c:pt idx="1360">
                  <c:v>1.6192805548304123</c:v>
                </c:pt>
                <c:pt idx="1361">
                  <c:v>1.6213308073212334</c:v>
                </c:pt>
                <c:pt idx="1362">
                  <c:v>1.6126709735585436</c:v>
                </c:pt>
                <c:pt idx="1363">
                  <c:v>1.6019049321842598</c:v>
                </c:pt>
                <c:pt idx="1364">
                  <c:v>1.6016536014659712</c:v>
                </c:pt>
                <c:pt idx="1365">
                  <c:v>1.602177579686946</c:v>
                </c:pt>
                <c:pt idx="1366">
                  <c:v>1.6104827262773262</c:v>
                </c:pt>
                <c:pt idx="1367">
                  <c:v>1.6019316143697129</c:v>
                </c:pt>
                <c:pt idx="1368">
                  <c:v>1.5797517602173745</c:v>
                </c:pt>
                <c:pt idx="1369">
                  <c:v>1.5666282247464645</c:v>
                </c:pt>
                <c:pt idx="1370">
                  <c:v>1.58348</c:v>
                </c:pt>
                <c:pt idx="1371">
                  <c:v>1.5946900000000002</c:v>
                </c:pt>
                <c:pt idx="1372">
                  <c:v>1.6028800000000001</c:v>
                </c:pt>
                <c:pt idx="1373">
                  <c:v>1.59504</c:v>
                </c:pt>
                <c:pt idx="1374">
                  <c:v>1.6082700000000001</c:v>
                </c:pt>
                <c:pt idx="1375">
                  <c:v>1.6278800000000002</c:v>
                </c:pt>
                <c:pt idx="1376">
                  <c:v>1.6178800000000002</c:v>
                </c:pt>
                <c:pt idx="1377">
                  <c:v>1.6246099999999999</c:v>
                </c:pt>
                <c:pt idx="1378">
                  <c:v>1.63876</c:v>
                </c:pt>
                <c:pt idx="1379">
                  <c:v>1.6344799999999999</c:v>
                </c:pt>
                <c:pt idx="1380">
                  <c:v>1.63314</c:v>
                </c:pt>
                <c:pt idx="1381">
                  <c:v>1.65124</c:v>
                </c:pt>
                <c:pt idx="1382">
                  <c:v>1.6649800000000001</c:v>
                </c:pt>
                <c:pt idx="1383">
                  <c:v>1.67015</c:v>
                </c:pt>
                <c:pt idx="1384">
                  <c:v>1.6640299999999999</c:v>
                </c:pt>
                <c:pt idx="1385">
                  <c:v>1.6577899999999999</c:v>
                </c:pt>
                <c:pt idx="1386">
                  <c:v>1.66784</c:v>
                </c:pt>
                <c:pt idx="1387">
                  <c:v>1.6802000000000001</c:v>
                </c:pt>
                <c:pt idx="1388">
                  <c:v>1.68984</c:v>
                </c:pt>
                <c:pt idx="1389">
                  <c:v>1.6953499999999999</c:v>
                </c:pt>
                <c:pt idx="1390">
                  <c:v>1.70153</c:v>
                </c:pt>
                <c:pt idx="1391">
                  <c:v>1.7057200000000001</c:v>
                </c:pt>
                <c:pt idx="1392">
                  <c:v>1.6963499999999998</c:v>
                </c:pt>
                <c:pt idx="1393">
                  <c:v>1.6916800000000001</c:v>
                </c:pt>
                <c:pt idx="1394">
                  <c:v>1.6748499999999999</c:v>
                </c:pt>
                <c:pt idx="1395">
                  <c:v>1.6604300000000001</c:v>
                </c:pt>
                <c:pt idx="1396">
                  <c:v>1.6678900000000001</c:v>
                </c:pt>
                <c:pt idx="1397">
                  <c:v>1.6595599999999999</c:v>
                </c:pt>
                <c:pt idx="1398">
                  <c:v>1.6698299999999999</c:v>
                </c:pt>
                <c:pt idx="1399">
                  <c:v>1.68103</c:v>
                </c:pt>
                <c:pt idx="1400">
                  <c:v>1.6590799999999999</c:v>
                </c:pt>
                <c:pt idx="1401">
                  <c:v>1.67543</c:v>
                </c:pt>
                <c:pt idx="1402">
                  <c:v>1.6903299999999999</c:v>
                </c:pt>
                <c:pt idx="1403">
                  <c:v>1.71122</c:v>
                </c:pt>
                <c:pt idx="1404">
                  <c:v>1.7172700000000001</c:v>
                </c:pt>
                <c:pt idx="1405">
                  <c:v>1.7105999999999999</c:v>
                </c:pt>
                <c:pt idx="1406">
                  <c:v>1.7297899999999999</c:v>
                </c:pt>
                <c:pt idx="1407">
                  <c:v>1.7402</c:v>
                </c:pt>
                <c:pt idx="1408">
                  <c:v>1.7324300000000001</c:v>
                </c:pt>
                <c:pt idx="1409">
                  <c:v>1.72481</c:v>
                </c:pt>
                <c:pt idx="1410">
                  <c:v>1.7077100000000001</c:v>
                </c:pt>
                <c:pt idx="1411">
                  <c:v>1.7153</c:v>
                </c:pt>
                <c:pt idx="1412">
                  <c:v>1.7101500000000001</c:v>
                </c:pt>
                <c:pt idx="1413">
                  <c:v>1.71112</c:v>
                </c:pt>
                <c:pt idx="1414">
                  <c:v>1.7136800000000001</c:v>
                </c:pt>
                <c:pt idx="1415">
                  <c:v>1.70825</c:v>
                </c:pt>
                <c:pt idx="1416">
                  <c:v>1.71302</c:v>
                </c:pt>
                <c:pt idx="1417">
                  <c:v>1.7168800000000002</c:v>
                </c:pt>
                <c:pt idx="1418">
                  <c:v>1.7183199999999998</c:v>
                </c:pt>
                <c:pt idx="1419">
                  <c:v>1.73265</c:v>
                </c:pt>
                <c:pt idx="1420">
                  <c:v>1.7350999999999999</c:v>
                </c:pt>
                <c:pt idx="1421">
                  <c:v>1.73699</c:v>
                </c:pt>
                <c:pt idx="1422">
                  <c:v>1.7398900000000002</c:v>
                </c:pt>
                <c:pt idx="1423">
                  <c:v>1.7569000000000001</c:v>
                </c:pt>
                <c:pt idx="1424">
                  <c:v>1.78179</c:v>
                </c:pt>
                <c:pt idx="1425">
                  <c:v>1.76539</c:v>
                </c:pt>
                <c:pt idx="1426">
                  <c:v>1.75499</c:v>
                </c:pt>
                <c:pt idx="1427">
                  <c:v>1.76034</c:v>
                </c:pt>
                <c:pt idx="1428">
                  <c:v>1.7805599999999999</c:v>
                </c:pt>
                <c:pt idx="1429">
                  <c:v>1.76891</c:v>
                </c:pt>
                <c:pt idx="1430">
                  <c:v>1.7821900000000002</c:v>
                </c:pt>
                <c:pt idx="1431">
                  <c:v>1.7886300000000002</c:v>
                </c:pt>
                <c:pt idx="1432">
                  <c:v>1.81</c:v>
                </c:pt>
                <c:pt idx="1433">
                  <c:v>1.81107</c:v>
                </c:pt>
                <c:pt idx="1434">
                  <c:v>1.80782</c:v>
                </c:pt>
                <c:pt idx="1435">
                  <c:v>1.81168</c:v>
                </c:pt>
                <c:pt idx="1436">
                  <c:v>1.8095300000000001</c:v>
                </c:pt>
                <c:pt idx="1437">
                  <c:v>1.80233</c:v>
                </c:pt>
                <c:pt idx="1438">
                  <c:v>1.8176700000000001</c:v>
                </c:pt>
                <c:pt idx="1439">
                  <c:v>1.81406</c:v>
                </c:pt>
                <c:pt idx="1440">
                  <c:v>1.8103499999999999</c:v>
                </c:pt>
                <c:pt idx="1441">
                  <c:v>1.8130899999999999</c:v>
                </c:pt>
                <c:pt idx="1442">
                  <c:v>1.81792</c:v>
                </c:pt>
                <c:pt idx="1443">
                  <c:v>1.8239000000000001</c:v>
                </c:pt>
                <c:pt idx="1444">
                  <c:v>1.8125599999999999</c:v>
                </c:pt>
                <c:pt idx="1445">
                  <c:v>1.8148599999999999</c:v>
                </c:pt>
                <c:pt idx="1446">
                  <c:v>1.8137099999999999</c:v>
                </c:pt>
                <c:pt idx="1447">
                  <c:v>1.8189900000000001</c:v>
                </c:pt>
                <c:pt idx="1448">
                  <c:v>1.81335</c:v>
                </c:pt>
                <c:pt idx="1449">
                  <c:v>1.8154100000000002</c:v>
                </c:pt>
                <c:pt idx="1450">
                  <c:v>1.8237699999999999</c:v>
                </c:pt>
                <c:pt idx="1451">
                  <c:v>1.8321700000000001</c:v>
                </c:pt>
                <c:pt idx="1452">
                  <c:v>1.8183800000000001</c:v>
                </c:pt>
                <c:pt idx="1453">
                  <c:v>1.8227800000000001</c:v>
                </c:pt>
                <c:pt idx="1454">
                  <c:v>1.8156199999999998</c:v>
                </c:pt>
                <c:pt idx="1455">
                  <c:v>1.82744</c:v>
                </c:pt>
                <c:pt idx="1456">
                  <c:v>1.83541</c:v>
                </c:pt>
                <c:pt idx="1457">
                  <c:v>1.8284500000000001</c:v>
                </c:pt>
                <c:pt idx="1458">
                  <c:v>1.8289500000000001</c:v>
                </c:pt>
                <c:pt idx="1459">
                  <c:v>1.7997700000000001</c:v>
                </c:pt>
                <c:pt idx="1460">
                  <c:v>1.8095699999999999</c:v>
                </c:pt>
                <c:pt idx="1461">
                  <c:v>1.8138599999999998</c:v>
                </c:pt>
                <c:pt idx="1462">
                  <c:v>1.81429</c:v>
                </c:pt>
                <c:pt idx="1463">
                  <c:v>1.80124</c:v>
                </c:pt>
                <c:pt idx="1464">
                  <c:v>1.80009</c:v>
                </c:pt>
                <c:pt idx="1465">
                  <c:v>1.8113699999999999</c:v>
                </c:pt>
                <c:pt idx="1466">
                  <c:v>1.8006900000000001</c:v>
                </c:pt>
                <c:pt idx="1467">
                  <c:v>1.80322</c:v>
                </c:pt>
                <c:pt idx="1468">
                  <c:v>1.8244100000000001</c:v>
                </c:pt>
                <c:pt idx="1469">
                  <c:v>1.8161400000000001</c:v>
                </c:pt>
                <c:pt idx="1470">
                  <c:v>1.8287200000000001</c:v>
                </c:pt>
                <c:pt idx="1471">
                  <c:v>1.8627</c:v>
                </c:pt>
                <c:pt idx="1472">
                  <c:v>1.8618699999999999</c:v>
                </c:pt>
                <c:pt idx="1473">
                  <c:v>1.8659100000000002</c:v>
                </c:pt>
                <c:pt idx="1474">
                  <c:v>1.8568399999999998</c:v>
                </c:pt>
                <c:pt idx="1475">
                  <c:v>1.86263</c:v>
                </c:pt>
                <c:pt idx="1476">
                  <c:v>1.8466500000000001</c:v>
                </c:pt>
                <c:pt idx="1477">
                  <c:v>1.82</c:v>
                </c:pt>
                <c:pt idx="1478">
                  <c:v>1.82192</c:v>
                </c:pt>
                <c:pt idx="1479">
                  <c:v>1.8182100000000001</c:v>
                </c:pt>
                <c:pt idx="1480">
                  <c:v>1.8152900000000001</c:v>
                </c:pt>
                <c:pt idx="1481">
                  <c:v>1.8274300000000001</c:v>
                </c:pt>
                <c:pt idx="1482">
                  <c:v>1.8263099999999999</c:v>
                </c:pt>
                <c:pt idx="1483">
                  <c:v>1.8177399999999999</c:v>
                </c:pt>
                <c:pt idx="1484">
                  <c:v>1.82758</c:v>
                </c:pt>
                <c:pt idx="1485">
                  <c:v>1.8143900000000002</c:v>
                </c:pt>
                <c:pt idx="1486">
                  <c:v>1.8070999999999999</c:v>
                </c:pt>
                <c:pt idx="1487">
                  <c:v>1.7903499999999999</c:v>
                </c:pt>
                <c:pt idx="1488">
                  <c:v>1.7778399999999999</c:v>
                </c:pt>
                <c:pt idx="1489">
                  <c:v>1.7869000000000002</c:v>
                </c:pt>
                <c:pt idx="1490">
                  <c:v>1.7839400000000001</c:v>
                </c:pt>
                <c:pt idx="1491">
                  <c:v>1.78111</c:v>
                </c:pt>
                <c:pt idx="1492">
                  <c:v>1.79253</c:v>
                </c:pt>
                <c:pt idx="1493">
                  <c:v>1.7567000000000002</c:v>
                </c:pt>
                <c:pt idx="1494">
                  <c:v>1.75366</c:v>
                </c:pt>
                <c:pt idx="1495">
                  <c:v>1.7991400000000002</c:v>
                </c:pt>
                <c:pt idx="1496">
                  <c:v>1.8035399999999999</c:v>
                </c:pt>
                <c:pt idx="1497">
                  <c:v>1.7842799999999999</c:v>
                </c:pt>
                <c:pt idx="1498">
                  <c:v>1.8019400000000001</c:v>
                </c:pt>
                <c:pt idx="1499">
                  <c:v>1.7968900000000001</c:v>
                </c:pt>
                <c:pt idx="1500">
                  <c:v>1.7786</c:v>
                </c:pt>
                <c:pt idx="1501">
                  <c:v>1.77092</c:v>
                </c:pt>
                <c:pt idx="1502">
                  <c:v>1.7652699999999999</c:v>
                </c:pt>
                <c:pt idx="1503">
                  <c:v>1.76054</c:v>
                </c:pt>
                <c:pt idx="1504">
                  <c:v>1.79016</c:v>
                </c:pt>
                <c:pt idx="1505">
                  <c:v>1.82247</c:v>
                </c:pt>
                <c:pt idx="1506">
                  <c:v>1.81189</c:v>
                </c:pt>
                <c:pt idx="1507">
                  <c:v>1.8103</c:v>
                </c:pt>
                <c:pt idx="1508">
                  <c:v>1.80318</c:v>
                </c:pt>
                <c:pt idx="1509">
                  <c:v>1.8082799999999999</c:v>
                </c:pt>
                <c:pt idx="1510">
                  <c:v>1.83846</c:v>
                </c:pt>
                <c:pt idx="1511">
                  <c:v>1.8748900000000002</c:v>
                </c:pt>
                <c:pt idx="1512">
                  <c:v>1.8738900000000001</c:v>
                </c:pt>
                <c:pt idx="1513">
                  <c:v>1.88855</c:v>
                </c:pt>
                <c:pt idx="1514">
                  <c:v>1.8926800000000001</c:v>
                </c:pt>
                <c:pt idx="1515">
                  <c:v>1.8989500000000001</c:v>
                </c:pt>
                <c:pt idx="1516">
                  <c:v>1.9085399999999999</c:v>
                </c:pt>
                <c:pt idx="1517">
                  <c:v>1.90672</c:v>
                </c:pt>
                <c:pt idx="1518">
                  <c:v>1.9012100000000001</c:v>
                </c:pt>
                <c:pt idx="1519">
                  <c:v>1.9132499999999999</c:v>
                </c:pt>
                <c:pt idx="1520">
                  <c:v>1.92648</c:v>
                </c:pt>
                <c:pt idx="1521">
                  <c:v>1.92848</c:v>
                </c:pt>
                <c:pt idx="1522">
                  <c:v>1.9509700000000001</c:v>
                </c:pt>
                <c:pt idx="1523">
                  <c:v>1.9391500000000002</c:v>
                </c:pt>
                <c:pt idx="1524">
                  <c:v>1.9374400000000001</c:v>
                </c:pt>
                <c:pt idx="1525">
                  <c:v>1.9539800000000001</c:v>
                </c:pt>
                <c:pt idx="1526">
                  <c:v>1.93923</c:v>
                </c:pt>
                <c:pt idx="1527">
                  <c:v>1.9331700000000001</c:v>
                </c:pt>
                <c:pt idx="1528">
                  <c:v>1.92439</c:v>
                </c:pt>
                <c:pt idx="1529">
                  <c:v>1.9263299999999999</c:v>
                </c:pt>
                <c:pt idx="1530">
                  <c:v>1.9412799999999999</c:v>
                </c:pt>
                <c:pt idx="1531">
                  <c:v>1.9220200000000001</c:v>
                </c:pt>
                <c:pt idx="1532">
                  <c:v>1.9197899999999999</c:v>
                </c:pt>
                <c:pt idx="1533">
                  <c:v>1.8824700000000001</c:v>
                </c:pt>
                <c:pt idx="1534">
                  <c:v>1.9008</c:v>
                </c:pt>
                <c:pt idx="1535">
                  <c:v>1.8857999999999999</c:v>
                </c:pt>
                <c:pt idx="1536">
                  <c:v>1.86751</c:v>
                </c:pt>
                <c:pt idx="1537">
                  <c:v>1.8935899999999999</c:v>
                </c:pt>
                <c:pt idx="1538">
                  <c:v>1.9136099999999998</c:v>
                </c:pt>
                <c:pt idx="1539">
                  <c:v>1.9149700000000001</c:v>
                </c:pt>
                <c:pt idx="1540">
                  <c:v>1.9174599999999999</c:v>
                </c:pt>
                <c:pt idx="1541">
                  <c:v>1.90215</c:v>
                </c:pt>
                <c:pt idx="1542">
                  <c:v>1.90872</c:v>
                </c:pt>
                <c:pt idx="1543">
                  <c:v>1.90767</c:v>
                </c:pt>
                <c:pt idx="1544">
                  <c:v>1.9317200000000001</c:v>
                </c:pt>
                <c:pt idx="1545">
                  <c:v>1.9385899999999998</c:v>
                </c:pt>
                <c:pt idx="1546">
                  <c:v>1.95248</c:v>
                </c:pt>
                <c:pt idx="1547">
                  <c:v>1.9411500000000002</c:v>
                </c:pt>
                <c:pt idx="1548">
                  <c:v>1.91797</c:v>
                </c:pt>
                <c:pt idx="1549">
                  <c:v>1.9129200000000002</c:v>
                </c:pt>
                <c:pt idx="1550">
                  <c:v>1.90188</c:v>
                </c:pt>
                <c:pt idx="1551">
                  <c:v>1.9202399999999999</c:v>
                </c:pt>
                <c:pt idx="1552">
                  <c:v>1.9145300000000001</c:v>
                </c:pt>
                <c:pt idx="1553">
                  <c:v>1.90202</c:v>
                </c:pt>
                <c:pt idx="1554">
                  <c:v>1.9052200000000001</c:v>
                </c:pt>
                <c:pt idx="1555">
                  <c:v>1.9140599999999999</c:v>
                </c:pt>
                <c:pt idx="1556">
                  <c:v>1.91622</c:v>
                </c:pt>
                <c:pt idx="1557">
                  <c:v>1.88815</c:v>
                </c:pt>
                <c:pt idx="1558">
                  <c:v>1.8827100000000001</c:v>
                </c:pt>
                <c:pt idx="1559">
                  <c:v>1.91133</c:v>
                </c:pt>
                <c:pt idx="1560">
                  <c:v>1.90262</c:v>
                </c:pt>
                <c:pt idx="1561">
                  <c:v>1.90974</c:v>
                </c:pt>
                <c:pt idx="1562">
                  <c:v>1.92523</c:v>
                </c:pt>
                <c:pt idx="1563">
                  <c:v>1.90818</c:v>
                </c:pt>
                <c:pt idx="1564">
                  <c:v>1.9037200000000001</c:v>
                </c:pt>
                <c:pt idx="1565">
                  <c:v>1.87104</c:v>
                </c:pt>
                <c:pt idx="1566">
                  <c:v>1.8791600000000002</c:v>
                </c:pt>
                <c:pt idx="1567">
                  <c:v>1.86839</c:v>
                </c:pt>
                <c:pt idx="1568">
                  <c:v>1.8975499999999998</c:v>
                </c:pt>
                <c:pt idx="1569">
                  <c:v>1.9004100000000002</c:v>
                </c:pt>
                <c:pt idx="1570">
                  <c:v>1.8915</c:v>
                </c:pt>
                <c:pt idx="1571">
                  <c:v>1.8935299999999999</c:v>
                </c:pt>
                <c:pt idx="1572">
                  <c:v>1.8900299999999999</c:v>
                </c:pt>
                <c:pt idx="1573">
                  <c:v>1.9119699999999999</c:v>
                </c:pt>
                <c:pt idx="1574">
                  <c:v>1.89147</c:v>
                </c:pt>
                <c:pt idx="1575">
                  <c:v>1.74624</c:v>
                </c:pt>
                <c:pt idx="1576">
                  <c:v>1.79518</c:v>
                </c:pt>
                <c:pt idx="1577">
                  <c:v>1.7973599999999998</c:v>
                </c:pt>
                <c:pt idx="1578">
                  <c:v>1.8254300000000001</c:v>
                </c:pt>
                <c:pt idx="1579">
                  <c:v>1.80244</c:v>
                </c:pt>
                <c:pt idx="1580">
                  <c:v>1.7848900000000001</c:v>
                </c:pt>
                <c:pt idx="1581">
                  <c:v>1.81531</c:v>
                </c:pt>
                <c:pt idx="1582">
                  <c:v>1.84832</c:v>
                </c:pt>
                <c:pt idx="1583">
                  <c:v>1.8467799999999999</c:v>
                </c:pt>
                <c:pt idx="1584">
                  <c:v>1.8475899999999998</c:v>
                </c:pt>
                <c:pt idx="1585">
                  <c:v>1.86683</c:v>
                </c:pt>
                <c:pt idx="1586">
                  <c:v>1.8765999999999998</c:v>
                </c:pt>
                <c:pt idx="1587">
                  <c:v>1.8868499999999999</c:v>
                </c:pt>
                <c:pt idx="1588">
                  <c:v>1.9012899999999999</c:v>
                </c:pt>
                <c:pt idx="1589">
                  <c:v>1.9145000000000001</c:v>
                </c:pt>
                <c:pt idx="1590">
                  <c:v>1.91577</c:v>
                </c:pt>
                <c:pt idx="1591">
                  <c:v>1.92516</c:v>
                </c:pt>
                <c:pt idx="1592">
                  <c:v>1.9121300000000001</c:v>
                </c:pt>
                <c:pt idx="1593">
                  <c:v>1.8849500000000001</c:v>
                </c:pt>
                <c:pt idx="1594">
                  <c:v>1.8944100000000001</c:v>
                </c:pt>
                <c:pt idx="1595">
                  <c:v>1.91225</c:v>
                </c:pt>
                <c:pt idx="1596">
                  <c:v>1.90943</c:v>
                </c:pt>
                <c:pt idx="1597">
                  <c:v>1.90107</c:v>
                </c:pt>
                <c:pt idx="1598">
                  <c:v>1.9193399999999998</c:v>
                </c:pt>
                <c:pt idx="1599">
                  <c:v>1.9290399999999999</c:v>
                </c:pt>
                <c:pt idx="1600">
                  <c:v>1.9137599999999999</c:v>
                </c:pt>
                <c:pt idx="1601">
                  <c:v>1.92188</c:v>
                </c:pt>
                <c:pt idx="1602">
                  <c:v>1.9103699999999999</c:v>
                </c:pt>
                <c:pt idx="1603">
                  <c:v>1.92581</c:v>
                </c:pt>
                <c:pt idx="1604">
                  <c:v>1.92347</c:v>
                </c:pt>
                <c:pt idx="1605">
                  <c:v>1.9171899999999999</c:v>
                </c:pt>
                <c:pt idx="1606">
                  <c:v>1.8993</c:v>
                </c:pt>
                <c:pt idx="1607">
                  <c:v>1.90367</c:v>
                </c:pt>
                <c:pt idx="1608">
                  <c:v>1.9168499999999999</c:v>
                </c:pt>
                <c:pt idx="1609">
                  <c:v>1.9218</c:v>
                </c:pt>
                <c:pt idx="1610">
                  <c:v>1.90673</c:v>
                </c:pt>
                <c:pt idx="1611">
                  <c:v>1.90893</c:v>
                </c:pt>
                <c:pt idx="1612">
                  <c:v>1.905</c:v>
                </c:pt>
                <c:pt idx="1613">
                  <c:v>1.9029400000000001</c:v>
                </c:pt>
                <c:pt idx="1614">
                  <c:v>1.93364</c:v>
                </c:pt>
                <c:pt idx="1615">
                  <c:v>1.9376</c:v>
                </c:pt>
                <c:pt idx="1616">
                  <c:v>1.9374200000000001</c:v>
                </c:pt>
                <c:pt idx="1617">
                  <c:v>1.94679</c:v>
                </c:pt>
                <c:pt idx="1618">
                  <c:v>1.91848</c:v>
                </c:pt>
                <c:pt idx="1619">
                  <c:v>1.9274</c:v>
                </c:pt>
                <c:pt idx="1620">
                  <c:v>1.92699</c:v>
                </c:pt>
                <c:pt idx="1621">
                  <c:v>1.91859</c:v>
                </c:pt>
                <c:pt idx="1622">
                  <c:v>1.8972100000000001</c:v>
                </c:pt>
                <c:pt idx="1623">
                  <c:v>1.8918199999999998</c:v>
                </c:pt>
                <c:pt idx="1624">
                  <c:v>1.8767400000000001</c:v>
                </c:pt>
                <c:pt idx="1625">
                  <c:v>1.8632500000000001</c:v>
                </c:pt>
                <c:pt idx="1626">
                  <c:v>1.8828</c:v>
                </c:pt>
                <c:pt idx="1627">
                  <c:v>1.88805</c:v>
                </c:pt>
                <c:pt idx="1628">
                  <c:v>1.8795500000000001</c:v>
                </c:pt>
                <c:pt idx="1629">
                  <c:v>1.87998</c:v>
                </c:pt>
                <c:pt idx="1630">
                  <c:v>1.8702099999999999</c:v>
                </c:pt>
                <c:pt idx="1631">
                  <c:v>1.87575</c:v>
                </c:pt>
                <c:pt idx="1632">
                  <c:v>1.8693599999999999</c:v>
                </c:pt>
                <c:pt idx="1633">
                  <c:v>1.90164</c:v>
                </c:pt>
                <c:pt idx="1634">
                  <c:v>1.92408</c:v>
                </c:pt>
                <c:pt idx="1635">
                  <c:v>1.90995</c:v>
                </c:pt>
                <c:pt idx="1636">
                  <c:v>1.9205300000000001</c:v>
                </c:pt>
                <c:pt idx="1637">
                  <c:v>1.9453099999999999</c:v>
                </c:pt>
                <c:pt idx="1638">
                  <c:v>1.94329</c:v>
                </c:pt>
                <c:pt idx="1639">
                  <c:v>1.9704600000000001</c:v>
                </c:pt>
                <c:pt idx="1640">
                  <c:v>1.9748399999999999</c:v>
                </c:pt>
                <c:pt idx="1641">
                  <c:v>1.9498</c:v>
                </c:pt>
                <c:pt idx="1642">
                  <c:v>1.9296099999999998</c:v>
                </c:pt>
                <c:pt idx="1643">
                  <c:v>1.9442600000000001</c:v>
                </c:pt>
                <c:pt idx="1644">
                  <c:v>1.9344700000000001</c:v>
                </c:pt>
                <c:pt idx="1645">
                  <c:v>1.92353</c:v>
                </c:pt>
                <c:pt idx="1646">
                  <c:v>1.9182699999999999</c:v>
                </c:pt>
                <c:pt idx="1647">
                  <c:v>1.89208</c:v>
                </c:pt>
                <c:pt idx="1648">
                  <c:v>1.8760999999999999</c:v>
                </c:pt>
                <c:pt idx="1649">
                  <c:v>1.8891199999999999</c:v>
                </c:pt>
                <c:pt idx="1650">
                  <c:v>1.9042000000000001</c:v>
                </c:pt>
                <c:pt idx="1651">
                  <c:v>1.90096</c:v>
                </c:pt>
                <c:pt idx="1652">
                  <c:v>1.9172799999999999</c:v>
                </c:pt>
                <c:pt idx="1653">
                  <c:v>1.917</c:v>
                </c:pt>
                <c:pt idx="1654">
                  <c:v>1.92317</c:v>
                </c:pt>
                <c:pt idx="1655">
                  <c:v>1.9367999999999999</c:v>
                </c:pt>
                <c:pt idx="1656">
                  <c:v>1.9279500000000001</c:v>
                </c:pt>
                <c:pt idx="1657">
                  <c:v>1.91666</c:v>
                </c:pt>
                <c:pt idx="1658">
                  <c:v>1.9199200000000001</c:v>
                </c:pt>
                <c:pt idx="1659">
                  <c:v>1.92188</c:v>
                </c:pt>
                <c:pt idx="1660">
                  <c:v>1.9322999999999999</c:v>
                </c:pt>
                <c:pt idx="1661">
                  <c:v>1.9070799999999999</c:v>
                </c:pt>
                <c:pt idx="1662">
                  <c:v>1.90791</c:v>
                </c:pt>
                <c:pt idx="1663">
                  <c:v>1.86537</c:v>
                </c:pt>
                <c:pt idx="1664">
                  <c:v>1.8816700000000002</c:v>
                </c:pt>
                <c:pt idx="1665">
                  <c:v>1.8779300000000001</c:v>
                </c:pt>
                <c:pt idx="1666">
                  <c:v>1.86757</c:v>
                </c:pt>
                <c:pt idx="1667">
                  <c:v>1.8577000000000001</c:v>
                </c:pt>
                <c:pt idx="1668">
                  <c:v>1.85318</c:v>
                </c:pt>
                <c:pt idx="1669">
                  <c:v>1.86538</c:v>
                </c:pt>
                <c:pt idx="1670">
                  <c:v>1.88361</c:v>
                </c:pt>
                <c:pt idx="1671">
                  <c:v>1.87747</c:v>
                </c:pt>
                <c:pt idx="1672">
                  <c:v>1.85141</c:v>
                </c:pt>
                <c:pt idx="1673">
                  <c:v>1.8589800000000001</c:v>
                </c:pt>
                <c:pt idx="1674">
                  <c:v>1.8776600000000001</c:v>
                </c:pt>
                <c:pt idx="1675">
                  <c:v>1.8859999999999999</c:v>
                </c:pt>
                <c:pt idx="1676">
                  <c:v>1.9014599999999999</c:v>
                </c:pt>
                <c:pt idx="1677">
                  <c:v>1.88472</c:v>
                </c:pt>
                <c:pt idx="1678">
                  <c:v>1.8877899999999999</c:v>
                </c:pt>
                <c:pt idx="1679">
                  <c:v>1.8918499999999998</c:v>
                </c:pt>
                <c:pt idx="1680">
                  <c:v>1.87826</c:v>
                </c:pt>
                <c:pt idx="1681">
                  <c:v>1.8669899999999999</c:v>
                </c:pt>
                <c:pt idx="1682">
                  <c:v>1.86052</c:v>
                </c:pt>
                <c:pt idx="1683">
                  <c:v>1.8612599999999999</c:v>
                </c:pt>
                <c:pt idx="1684">
                  <c:v>1.8714600000000001</c:v>
                </c:pt>
                <c:pt idx="1685">
                  <c:v>1.87582</c:v>
                </c:pt>
                <c:pt idx="1686">
                  <c:v>1.89977</c:v>
                </c:pt>
                <c:pt idx="1687">
                  <c:v>1.9156199999999999</c:v>
                </c:pt>
                <c:pt idx="1688">
                  <c:v>1.92452</c:v>
                </c:pt>
                <c:pt idx="1689">
                  <c:v>1.9634400000000001</c:v>
                </c:pt>
                <c:pt idx="1690">
                  <c:v>1.9853299999999998</c:v>
                </c:pt>
                <c:pt idx="1691">
                  <c:v>1.98854</c:v>
                </c:pt>
                <c:pt idx="1692">
                  <c:v>1.98458</c:v>
                </c:pt>
                <c:pt idx="1693">
                  <c:v>2.00745</c:v>
                </c:pt>
                <c:pt idx="1694">
                  <c:v>2.0079600000000002</c:v>
                </c:pt>
                <c:pt idx="1695">
                  <c:v>2.0103200000000001</c:v>
                </c:pt>
                <c:pt idx="1696">
                  <c:v>1.9916199999999999</c:v>
                </c:pt>
                <c:pt idx="1697">
                  <c:v>2.01892</c:v>
                </c:pt>
                <c:pt idx="1698">
                  <c:v>2.0140099999999999</c:v>
                </c:pt>
                <c:pt idx="1699">
                  <c:v>2.01586</c:v>
                </c:pt>
                <c:pt idx="1700">
                  <c:v>2.0109900000000001</c:v>
                </c:pt>
                <c:pt idx="1701">
                  <c:v>2.0333099999999997</c:v>
                </c:pt>
                <c:pt idx="1702">
                  <c:v>2.0183399999999998</c:v>
                </c:pt>
                <c:pt idx="1703">
                  <c:v>1.9973599999999998</c:v>
                </c:pt>
                <c:pt idx="1704">
                  <c:v>1.99028</c:v>
                </c:pt>
                <c:pt idx="1705">
                  <c:v>1.9924200000000001</c:v>
                </c:pt>
                <c:pt idx="1706">
                  <c:v>1.9777199999999999</c:v>
                </c:pt>
                <c:pt idx="1707">
                  <c:v>1.9458299999999999</c:v>
                </c:pt>
                <c:pt idx="1708">
                  <c:v>1.95817</c:v>
                </c:pt>
                <c:pt idx="1709">
                  <c:v>1.9425699999999999</c:v>
                </c:pt>
                <c:pt idx="1710">
                  <c:v>1.9630300000000001</c:v>
                </c:pt>
                <c:pt idx="1711">
                  <c:v>1.9745299999999999</c:v>
                </c:pt>
                <c:pt idx="1712">
                  <c:v>1.9599300000000002</c:v>
                </c:pt>
                <c:pt idx="1713">
                  <c:v>1.94285</c:v>
                </c:pt>
                <c:pt idx="1714">
                  <c:v>1.9203800000000002</c:v>
                </c:pt>
                <c:pt idx="1715">
                  <c:v>1.89591</c:v>
                </c:pt>
                <c:pt idx="1716">
                  <c:v>1.9102999999999999</c:v>
                </c:pt>
                <c:pt idx="1717">
                  <c:v>1.9128699999999998</c:v>
                </c:pt>
                <c:pt idx="1718">
                  <c:v>1.88575</c:v>
                </c:pt>
                <c:pt idx="1719">
                  <c:v>1.90357</c:v>
                </c:pt>
                <c:pt idx="1720">
                  <c:v>1.8954900000000001</c:v>
                </c:pt>
                <c:pt idx="1721">
                  <c:v>1.9270999999999998</c:v>
                </c:pt>
                <c:pt idx="1722">
                  <c:v>1.9322600000000001</c:v>
                </c:pt>
                <c:pt idx="1723">
                  <c:v>1.9432400000000001</c:v>
                </c:pt>
                <c:pt idx="1724">
                  <c:v>1.9684900000000001</c:v>
                </c:pt>
                <c:pt idx="1725">
                  <c:v>1.9855799999999999</c:v>
                </c:pt>
                <c:pt idx="1726">
                  <c:v>1.9778399999999998</c:v>
                </c:pt>
                <c:pt idx="1727">
                  <c:v>1.9686900000000001</c:v>
                </c:pt>
                <c:pt idx="1728">
                  <c:v>1.9577</c:v>
                </c:pt>
                <c:pt idx="1729">
                  <c:v>1.9537800000000001</c:v>
                </c:pt>
                <c:pt idx="1730">
                  <c:v>1.95519</c:v>
                </c:pt>
                <c:pt idx="1731">
                  <c:v>1.9549300000000001</c:v>
                </c:pt>
                <c:pt idx="1732">
                  <c:v>1.94306</c:v>
                </c:pt>
                <c:pt idx="1733">
                  <c:v>1.93875</c:v>
                </c:pt>
                <c:pt idx="1734">
                  <c:v>1.9165099999999999</c:v>
                </c:pt>
                <c:pt idx="1735">
                  <c:v>1.9263399999999999</c:v>
                </c:pt>
                <c:pt idx="1736">
                  <c:v>1.93476</c:v>
                </c:pt>
                <c:pt idx="1737">
                  <c:v>1.9272199999999999</c:v>
                </c:pt>
                <c:pt idx="1738">
                  <c:v>1.9021600000000001</c:v>
                </c:pt>
                <c:pt idx="1739">
                  <c:v>1.9202000000000001</c:v>
                </c:pt>
                <c:pt idx="1740">
                  <c:v>1.9427000000000001</c:v>
                </c:pt>
                <c:pt idx="1741">
                  <c:v>1.95747</c:v>
                </c:pt>
                <c:pt idx="1742">
                  <c:v>1.95834</c:v>
                </c:pt>
                <c:pt idx="1743">
                  <c:v>1.9758599999999999</c:v>
                </c:pt>
              </c:numCache>
            </c:numRef>
          </c:val>
          <c:smooth val="0"/>
          <c:extLst>
            <c:ext xmlns:c16="http://schemas.microsoft.com/office/drawing/2014/chart" uri="{C3380CC4-5D6E-409C-BE32-E72D297353CC}">
              <c16:uniqueId val="{00000001-F6CD-4EFC-AF0A-BA87ADBAC5A0}"/>
            </c:ext>
          </c:extLst>
        </c:ser>
        <c:dLbls>
          <c:showLegendKey val="0"/>
          <c:showVal val="0"/>
          <c:showCatName val="0"/>
          <c:showSerName val="0"/>
          <c:showPercent val="0"/>
          <c:showBubbleSize val="0"/>
        </c:dLbls>
        <c:marker val="1"/>
        <c:smooth val="0"/>
        <c:axId val="318870416"/>
        <c:axId val="318870808"/>
      </c:lineChart>
      <c:lineChart>
        <c:grouping val="standard"/>
        <c:varyColors val="0"/>
        <c:ser>
          <c:idx val="2"/>
          <c:order val="2"/>
          <c:tx>
            <c:strRef>
              <c:f>значения!$I$1</c:f>
              <c:strCache>
                <c:ptCount val="1"/>
                <c:pt idx="0">
                  <c:v>Индекс МосБиржи</c:v>
                </c:pt>
              </c:strCache>
            </c:strRef>
          </c:tx>
          <c:spPr>
            <a:ln w="15875" cap="rnd">
              <a:solidFill>
                <a:srgbClr val="C00000"/>
              </a:solidFill>
              <a:round/>
            </a:ln>
            <a:effectLst/>
          </c:spPr>
          <c:marker>
            <c:symbol val="none"/>
          </c:marker>
          <c:cat>
            <c:numRef>
              <c:f>значения!$A$2:$A$1745</c:f>
              <c:numCache>
                <c:formatCode>m/d/yyyy</c:formatCode>
                <c:ptCount val="1744"/>
                <c:pt idx="0">
                  <c:v>40907</c:v>
                </c:pt>
                <c:pt idx="1">
                  <c:v>40911</c:v>
                </c:pt>
                <c:pt idx="2">
                  <c:v>40912</c:v>
                </c:pt>
                <c:pt idx="3">
                  <c:v>40913</c:v>
                </c:pt>
                <c:pt idx="4">
                  <c:v>40914</c:v>
                </c:pt>
                <c:pt idx="5">
                  <c:v>40917</c:v>
                </c:pt>
                <c:pt idx="6">
                  <c:v>40918</c:v>
                </c:pt>
                <c:pt idx="7">
                  <c:v>40919</c:v>
                </c:pt>
                <c:pt idx="8">
                  <c:v>40920</c:v>
                </c:pt>
                <c:pt idx="9">
                  <c:v>40921</c:v>
                </c:pt>
                <c:pt idx="10">
                  <c:v>40924</c:v>
                </c:pt>
                <c:pt idx="11">
                  <c:v>40925</c:v>
                </c:pt>
                <c:pt idx="12">
                  <c:v>40926</c:v>
                </c:pt>
                <c:pt idx="13">
                  <c:v>40927</c:v>
                </c:pt>
                <c:pt idx="14">
                  <c:v>40928</c:v>
                </c:pt>
                <c:pt idx="15">
                  <c:v>40931</c:v>
                </c:pt>
                <c:pt idx="16">
                  <c:v>40932</c:v>
                </c:pt>
                <c:pt idx="17">
                  <c:v>40933</c:v>
                </c:pt>
                <c:pt idx="18">
                  <c:v>40934</c:v>
                </c:pt>
                <c:pt idx="19">
                  <c:v>40935</c:v>
                </c:pt>
                <c:pt idx="20">
                  <c:v>40938</c:v>
                </c:pt>
                <c:pt idx="21">
                  <c:v>40939</c:v>
                </c:pt>
                <c:pt idx="22">
                  <c:v>40940</c:v>
                </c:pt>
                <c:pt idx="23">
                  <c:v>40941</c:v>
                </c:pt>
                <c:pt idx="24">
                  <c:v>40942</c:v>
                </c:pt>
                <c:pt idx="25">
                  <c:v>40945</c:v>
                </c:pt>
                <c:pt idx="26">
                  <c:v>40946</c:v>
                </c:pt>
                <c:pt idx="27">
                  <c:v>40947</c:v>
                </c:pt>
                <c:pt idx="28">
                  <c:v>40948</c:v>
                </c:pt>
                <c:pt idx="29">
                  <c:v>40949</c:v>
                </c:pt>
                <c:pt idx="30">
                  <c:v>40952</c:v>
                </c:pt>
                <c:pt idx="31">
                  <c:v>40953</c:v>
                </c:pt>
                <c:pt idx="32">
                  <c:v>40954</c:v>
                </c:pt>
                <c:pt idx="33">
                  <c:v>40955</c:v>
                </c:pt>
                <c:pt idx="34">
                  <c:v>40956</c:v>
                </c:pt>
                <c:pt idx="35">
                  <c:v>40959</c:v>
                </c:pt>
                <c:pt idx="36">
                  <c:v>40960</c:v>
                </c:pt>
                <c:pt idx="37">
                  <c:v>40961</c:v>
                </c:pt>
                <c:pt idx="38">
                  <c:v>40963</c:v>
                </c:pt>
                <c:pt idx="39">
                  <c:v>40966</c:v>
                </c:pt>
                <c:pt idx="40">
                  <c:v>40967</c:v>
                </c:pt>
                <c:pt idx="41">
                  <c:v>40968</c:v>
                </c:pt>
                <c:pt idx="42">
                  <c:v>40969</c:v>
                </c:pt>
                <c:pt idx="43">
                  <c:v>40970</c:v>
                </c:pt>
                <c:pt idx="44">
                  <c:v>40973</c:v>
                </c:pt>
                <c:pt idx="45">
                  <c:v>40974</c:v>
                </c:pt>
                <c:pt idx="46">
                  <c:v>40975</c:v>
                </c:pt>
                <c:pt idx="47">
                  <c:v>40979</c:v>
                </c:pt>
                <c:pt idx="48">
                  <c:v>40980</c:v>
                </c:pt>
                <c:pt idx="49">
                  <c:v>40981</c:v>
                </c:pt>
                <c:pt idx="50">
                  <c:v>40982</c:v>
                </c:pt>
                <c:pt idx="51">
                  <c:v>40983</c:v>
                </c:pt>
                <c:pt idx="52">
                  <c:v>40984</c:v>
                </c:pt>
                <c:pt idx="53">
                  <c:v>40987</c:v>
                </c:pt>
                <c:pt idx="54">
                  <c:v>40988</c:v>
                </c:pt>
                <c:pt idx="55">
                  <c:v>40989</c:v>
                </c:pt>
                <c:pt idx="56">
                  <c:v>40990</c:v>
                </c:pt>
                <c:pt idx="57">
                  <c:v>40991</c:v>
                </c:pt>
                <c:pt idx="58">
                  <c:v>40994</c:v>
                </c:pt>
                <c:pt idx="59">
                  <c:v>40995</c:v>
                </c:pt>
                <c:pt idx="60">
                  <c:v>40996</c:v>
                </c:pt>
                <c:pt idx="61">
                  <c:v>40997</c:v>
                </c:pt>
                <c:pt idx="62">
                  <c:v>40998</c:v>
                </c:pt>
                <c:pt idx="63">
                  <c:v>41001</c:v>
                </c:pt>
                <c:pt idx="64">
                  <c:v>41002</c:v>
                </c:pt>
                <c:pt idx="65">
                  <c:v>41003</c:v>
                </c:pt>
                <c:pt idx="66">
                  <c:v>41004</c:v>
                </c:pt>
                <c:pt idx="67">
                  <c:v>41005</c:v>
                </c:pt>
                <c:pt idx="68">
                  <c:v>41008</c:v>
                </c:pt>
                <c:pt idx="69">
                  <c:v>41009</c:v>
                </c:pt>
                <c:pt idx="70">
                  <c:v>41010</c:v>
                </c:pt>
                <c:pt idx="71">
                  <c:v>41011</c:v>
                </c:pt>
                <c:pt idx="72">
                  <c:v>41012</c:v>
                </c:pt>
                <c:pt idx="73">
                  <c:v>41015</c:v>
                </c:pt>
                <c:pt idx="74">
                  <c:v>41016</c:v>
                </c:pt>
                <c:pt idx="75">
                  <c:v>41017</c:v>
                </c:pt>
                <c:pt idx="76">
                  <c:v>41018</c:v>
                </c:pt>
                <c:pt idx="77">
                  <c:v>41019</c:v>
                </c:pt>
                <c:pt idx="78">
                  <c:v>41022</c:v>
                </c:pt>
                <c:pt idx="79">
                  <c:v>41023</c:v>
                </c:pt>
                <c:pt idx="80">
                  <c:v>41024</c:v>
                </c:pt>
                <c:pt idx="81">
                  <c:v>41025</c:v>
                </c:pt>
                <c:pt idx="82">
                  <c:v>41026</c:v>
                </c:pt>
                <c:pt idx="83">
                  <c:v>41027</c:v>
                </c:pt>
                <c:pt idx="84">
                  <c:v>41031</c:v>
                </c:pt>
                <c:pt idx="85">
                  <c:v>41032</c:v>
                </c:pt>
                <c:pt idx="86">
                  <c:v>41033</c:v>
                </c:pt>
                <c:pt idx="87">
                  <c:v>41034</c:v>
                </c:pt>
                <c:pt idx="88">
                  <c:v>41036</c:v>
                </c:pt>
                <c:pt idx="89">
                  <c:v>41037</c:v>
                </c:pt>
                <c:pt idx="90">
                  <c:v>41039</c:v>
                </c:pt>
                <c:pt idx="91">
                  <c:v>41040</c:v>
                </c:pt>
                <c:pt idx="92">
                  <c:v>41041</c:v>
                </c:pt>
                <c:pt idx="93">
                  <c:v>41043</c:v>
                </c:pt>
                <c:pt idx="94">
                  <c:v>41044</c:v>
                </c:pt>
                <c:pt idx="95">
                  <c:v>41045</c:v>
                </c:pt>
                <c:pt idx="96">
                  <c:v>41046</c:v>
                </c:pt>
                <c:pt idx="97">
                  <c:v>41047</c:v>
                </c:pt>
                <c:pt idx="98">
                  <c:v>41050</c:v>
                </c:pt>
                <c:pt idx="99">
                  <c:v>41051</c:v>
                </c:pt>
                <c:pt idx="100">
                  <c:v>41052</c:v>
                </c:pt>
                <c:pt idx="101">
                  <c:v>41053</c:v>
                </c:pt>
                <c:pt idx="102">
                  <c:v>41054</c:v>
                </c:pt>
                <c:pt idx="103">
                  <c:v>41057</c:v>
                </c:pt>
                <c:pt idx="104">
                  <c:v>41058</c:v>
                </c:pt>
                <c:pt idx="105">
                  <c:v>41059</c:v>
                </c:pt>
                <c:pt idx="106">
                  <c:v>41060</c:v>
                </c:pt>
                <c:pt idx="107">
                  <c:v>41061</c:v>
                </c:pt>
                <c:pt idx="108">
                  <c:v>41064</c:v>
                </c:pt>
                <c:pt idx="109">
                  <c:v>41065</c:v>
                </c:pt>
                <c:pt idx="110">
                  <c:v>41066</c:v>
                </c:pt>
                <c:pt idx="111">
                  <c:v>41067</c:v>
                </c:pt>
                <c:pt idx="112">
                  <c:v>41068</c:v>
                </c:pt>
                <c:pt idx="113">
                  <c:v>41069</c:v>
                </c:pt>
                <c:pt idx="114">
                  <c:v>41073</c:v>
                </c:pt>
                <c:pt idx="115">
                  <c:v>41074</c:v>
                </c:pt>
                <c:pt idx="116">
                  <c:v>41075</c:v>
                </c:pt>
                <c:pt idx="117">
                  <c:v>41078</c:v>
                </c:pt>
                <c:pt idx="118">
                  <c:v>41079</c:v>
                </c:pt>
                <c:pt idx="119">
                  <c:v>41080</c:v>
                </c:pt>
                <c:pt idx="120">
                  <c:v>41081</c:v>
                </c:pt>
                <c:pt idx="121">
                  <c:v>41082</c:v>
                </c:pt>
                <c:pt idx="122">
                  <c:v>41085</c:v>
                </c:pt>
                <c:pt idx="123">
                  <c:v>41086</c:v>
                </c:pt>
                <c:pt idx="124">
                  <c:v>41087</c:v>
                </c:pt>
                <c:pt idx="125">
                  <c:v>41088</c:v>
                </c:pt>
                <c:pt idx="126">
                  <c:v>41089</c:v>
                </c:pt>
                <c:pt idx="127">
                  <c:v>41092</c:v>
                </c:pt>
                <c:pt idx="128">
                  <c:v>41093</c:v>
                </c:pt>
                <c:pt idx="129">
                  <c:v>41094</c:v>
                </c:pt>
                <c:pt idx="130">
                  <c:v>41095</c:v>
                </c:pt>
                <c:pt idx="131">
                  <c:v>41096</c:v>
                </c:pt>
                <c:pt idx="132">
                  <c:v>41099</c:v>
                </c:pt>
                <c:pt idx="133">
                  <c:v>41100</c:v>
                </c:pt>
                <c:pt idx="134">
                  <c:v>41101</c:v>
                </c:pt>
                <c:pt idx="135">
                  <c:v>41102</c:v>
                </c:pt>
                <c:pt idx="136">
                  <c:v>41103</c:v>
                </c:pt>
                <c:pt idx="137">
                  <c:v>41106</c:v>
                </c:pt>
                <c:pt idx="138">
                  <c:v>41107</c:v>
                </c:pt>
                <c:pt idx="139">
                  <c:v>41108</c:v>
                </c:pt>
                <c:pt idx="140">
                  <c:v>41109</c:v>
                </c:pt>
                <c:pt idx="141">
                  <c:v>41110</c:v>
                </c:pt>
                <c:pt idx="142">
                  <c:v>41113</c:v>
                </c:pt>
                <c:pt idx="143">
                  <c:v>41114</c:v>
                </c:pt>
                <c:pt idx="144">
                  <c:v>41115</c:v>
                </c:pt>
                <c:pt idx="145">
                  <c:v>41116</c:v>
                </c:pt>
                <c:pt idx="146">
                  <c:v>41117</c:v>
                </c:pt>
                <c:pt idx="147">
                  <c:v>41120</c:v>
                </c:pt>
                <c:pt idx="148">
                  <c:v>41121</c:v>
                </c:pt>
                <c:pt idx="149">
                  <c:v>41122</c:v>
                </c:pt>
                <c:pt idx="150">
                  <c:v>41123</c:v>
                </c:pt>
                <c:pt idx="151">
                  <c:v>41124</c:v>
                </c:pt>
                <c:pt idx="152">
                  <c:v>41127</c:v>
                </c:pt>
                <c:pt idx="153">
                  <c:v>41128</c:v>
                </c:pt>
                <c:pt idx="154">
                  <c:v>41129</c:v>
                </c:pt>
                <c:pt idx="155">
                  <c:v>41130</c:v>
                </c:pt>
                <c:pt idx="156">
                  <c:v>41131</c:v>
                </c:pt>
                <c:pt idx="157">
                  <c:v>41134</c:v>
                </c:pt>
                <c:pt idx="158">
                  <c:v>41135</c:v>
                </c:pt>
                <c:pt idx="159">
                  <c:v>41136</c:v>
                </c:pt>
                <c:pt idx="160">
                  <c:v>41137</c:v>
                </c:pt>
                <c:pt idx="161">
                  <c:v>41138</c:v>
                </c:pt>
                <c:pt idx="162">
                  <c:v>41141</c:v>
                </c:pt>
                <c:pt idx="163">
                  <c:v>41142</c:v>
                </c:pt>
                <c:pt idx="164">
                  <c:v>41143</c:v>
                </c:pt>
                <c:pt idx="165">
                  <c:v>41144</c:v>
                </c:pt>
                <c:pt idx="166">
                  <c:v>41145</c:v>
                </c:pt>
                <c:pt idx="167">
                  <c:v>41148</c:v>
                </c:pt>
                <c:pt idx="168">
                  <c:v>41149</c:v>
                </c:pt>
                <c:pt idx="169">
                  <c:v>41150</c:v>
                </c:pt>
                <c:pt idx="170">
                  <c:v>41151</c:v>
                </c:pt>
                <c:pt idx="171">
                  <c:v>41152</c:v>
                </c:pt>
                <c:pt idx="172">
                  <c:v>41155</c:v>
                </c:pt>
                <c:pt idx="173">
                  <c:v>41156</c:v>
                </c:pt>
                <c:pt idx="174">
                  <c:v>41157</c:v>
                </c:pt>
                <c:pt idx="175">
                  <c:v>41158</c:v>
                </c:pt>
                <c:pt idx="176">
                  <c:v>41159</c:v>
                </c:pt>
                <c:pt idx="177">
                  <c:v>41162</c:v>
                </c:pt>
                <c:pt idx="178">
                  <c:v>41163</c:v>
                </c:pt>
                <c:pt idx="179">
                  <c:v>41164</c:v>
                </c:pt>
                <c:pt idx="180">
                  <c:v>41165</c:v>
                </c:pt>
                <c:pt idx="181">
                  <c:v>41166</c:v>
                </c:pt>
                <c:pt idx="182">
                  <c:v>41169</c:v>
                </c:pt>
                <c:pt idx="183">
                  <c:v>41170</c:v>
                </c:pt>
                <c:pt idx="184">
                  <c:v>41171</c:v>
                </c:pt>
                <c:pt idx="185">
                  <c:v>41172</c:v>
                </c:pt>
                <c:pt idx="186">
                  <c:v>41173</c:v>
                </c:pt>
                <c:pt idx="187">
                  <c:v>41176</c:v>
                </c:pt>
                <c:pt idx="188">
                  <c:v>41177</c:v>
                </c:pt>
                <c:pt idx="189">
                  <c:v>41178</c:v>
                </c:pt>
                <c:pt idx="190">
                  <c:v>41179</c:v>
                </c:pt>
                <c:pt idx="191">
                  <c:v>41180</c:v>
                </c:pt>
                <c:pt idx="192">
                  <c:v>41183</c:v>
                </c:pt>
                <c:pt idx="193">
                  <c:v>41184</c:v>
                </c:pt>
                <c:pt idx="194">
                  <c:v>41185</c:v>
                </c:pt>
                <c:pt idx="195">
                  <c:v>41186</c:v>
                </c:pt>
                <c:pt idx="196">
                  <c:v>41187</c:v>
                </c:pt>
                <c:pt idx="197">
                  <c:v>41190</c:v>
                </c:pt>
                <c:pt idx="198">
                  <c:v>41191</c:v>
                </c:pt>
                <c:pt idx="199">
                  <c:v>41192</c:v>
                </c:pt>
                <c:pt idx="200">
                  <c:v>41193</c:v>
                </c:pt>
                <c:pt idx="201">
                  <c:v>41194</c:v>
                </c:pt>
                <c:pt idx="202">
                  <c:v>41197</c:v>
                </c:pt>
                <c:pt idx="203">
                  <c:v>41198</c:v>
                </c:pt>
                <c:pt idx="204">
                  <c:v>41199</c:v>
                </c:pt>
                <c:pt idx="205">
                  <c:v>41200</c:v>
                </c:pt>
                <c:pt idx="206">
                  <c:v>41201</c:v>
                </c:pt>
                <c:pt idx="207">
                  <c:v>41204</c:v>
                </c:pt>
                <c:pt idx="208">
                  <c:v>41205</c:v>
                </c:pt>
                <c:pt idx="209">
                  <c:v>41206</c:v>
                </c:pt>
                <c:pt idx="210">
                  <c:v>41207</c:v>
                </c:pt>
                <c:pt idx="211">
                  <c:v>41208</c:v>
                </c:pt>
                <c:pt idx="212">
                  <c:v>41211</c:v>
                </c:pt>
                <c:pt idx="213">
                  <c:v>41212</c:v>
                </c:pt>
                <c:pt idx="214">
                  <c:v>41213</c:v>
                </c:pt>
                <c:pt idx="215">
                  <c:v>41214</c:v>
                </c:pt>
                <c:pt idx="216">
                  <c:v>41215</c:v>
                </c:pt>
                <c:pt idx="217">
                  <c:v>41219</c:v>
                </c:pt>
                <c:pt idx="218">
                  <c:v>41220</c:v>
                </c:pt>
                <c:pt idx="219">
                  <c:v>41221</c:v>
                </c:pt>
                <c:pt idx="220">
                  <c:v>41222</c:v>
                </c:pt>
                <c:pt idx="221">
                  <c:v>41225</c:v>
                </c:pt>
                <c:pt idx="222">
                  <c:v>41226</c:v>
                </c:pt>
                <c:pt idx="223">
                  <c:v>41227</c:v>
                </c:pt>
                <c:pt idx="224">
                  <c:v>41228</c:v>
                </c:pt>
                <c:pt idx="225">
                  <c:v>41229</c:v>
                </c:pt>
                <c:pt idx="226">
                  <c:v>41232</c:v>
                </c:pt>
                <c:pt idx="227">
                  <c:v>41233</c:v>
                </c:pt>
                <c:pt idx="228">
                  <c:v>41234</c:v>
                </c:pt>
                <c:pt idx="229">
                  <c:v>41235</c:v>
                </c:pt>
                <c:pt idx="230">
                  <c:v>41236</c:v>
                </c:pt>
                <c:pt idx="231">
                  <c:v>41239</c:v>
                </c:pt>
                <c:pt idx="232">
                  <c:v>41240</c:v>
                </c:pt>
                <c:pt idx="233">
                  <c:v>41241</c:v>
                </c:pt>
                <c:pt idx="234">
                  <c:v>41242</c:v>
                </c:pt>
                <c:pt idx="235">
                  <c:v>41243</c:v>
                </c:pt>
                <c:pt idx="236">
                  <c:v>41246</c:v>
                </c:pt>
                <c:pt idx="237">
                  <c:v>41247</c:v>
                </c:pt>
                <c:pt idx="238">
                  <c:v>41248</c:v>
                </c:pt>
                <c:pt idx="239">
                  <c:v>41249</c:v>
                </c:pt>
                <c:pt idx="240">
                  <c:v>41250</c:v>
                </c:pt>
                <c:pt idx="241">
                  <c:v>41253</c:v>
                </c:pt>
                <c:pt idx="242">
                  <c:v>41254</c:v>
                </c:pt>
                <c:pt idx="243">
                  <c:v>41255</c:v>
                </c:pt>
                <c:pt idx="244">
                  <c:v>41256</c:v>
                </c:pt>
                <c:pt idx="245">
                  <c:v>41257</c:v>
                </c:pt>
                <c:pt idx="246">
                  <c:v>41260</c:v>
                </c:pt>
                <c:pt idx="247">
                  <c:v>41261</c:v>
                </c:pt>
                <c:pt idx="248">
                  <c:v>41262</c:v>
                </c:pt>
                <c:pt idx="249">
                  <c:v>41263</c:v>
                </c:pt>
                <c:pt idx="250">
                  <c:v>41264</c:v>
                </c:pt>
                <c:pt idx="251">
                  <c:v>41267</c:v>
                </c:pt>
                <c:pt idx="252">
                  <c:v>41268</c:v>
                </c:pt>
                <c:pt idx="253">
                  <c:v>41269</c:v>
                </c:pt>
                <c:pt idx="254">
                  <c:v>41270</c:v>
                </c:pt>
                <c:pt idx="255">
                  <c:v>41271</c:v>
                </c:pt>
                <c:pt idx="256">
                  <c:v>41282</c:v>
                </c:pt>
                <c:pt idx="257">
                  <c:v>41283</c:v>
                </c:pt>
                <c:pt idx="258">
                  <c:v>41284</c:v>
                </c:pt>
                <c:pt idx="259">
                  <c:v>41285</c:v>
                </c:pt>
                <c:pt idx="260">
                  <c:v>41288</c:v>
                </c:pt>
                <c:pt idx="261">
                  <c:v>41289</c:v>
                </c:pt>
                <c:pt idx="262">
                  <c:v>41290</c:v>
                </c:pt>
                <c:pt idx="263">
                  <c:v>41291</c:v>
                </c:pt>
                <c:pt idx="264">
                  <c:v>41292</c:v>
                </c:pt>
                <c:pt idx="265">
                  <c:v>41295</c:v>
                </c:pt>
                <c:pt idx="266">
                  <c:v>41296</c:v>
                </c:pt>
                <c:pt idx="267">
                  <c:v>41297</c:v>
                </c:pt>
                <c:pt idx="268">
                  <c:v>41298</c:v>
                </c:pt>
                <c:pt idx="269">
                  <c:v>41299</c:v>
                </c:pt>
                <c:pt idx="270">
                  <c:v>41302</c:v>
                </c:pt>
                <c:pt idx="271">
                  <c:v>41303</c:v>
                </c:pt>
                <c:pt idx="272">
                  <c:v>41304</c:v>
                </c:pt>
                <c:pt idx="273">
                  <c:v>41305</c:v>
                </c:pt>
                <c:pt idx="274">
                  <c:v>41306</c:v>
                </c:pt>
                <c:pt idx="275">
                  <c:v>41309</c:v>
                </c:pt>
                <c:pt idx="276">
                  <c:v>41310</c:v>
                </c:pt>
                <c:pt idx="277">
                  <c:v>41311</c:v>
                </c:pt>
                <c:pt idx="278">
                  <c:v>41312</c:v>
                </c:pt>
                <c:pt idx="279">
                  <c:v>41313</c:v>
                </c:pt>
                <c:pt idx="280">
                  <c:v>41316</c:v>
                </c:pt>
                <c:pt idx="281">
                  <c:v>41317</c:v>
                </c:pt>
                <c:pt idx="282">
                  <c:v>41318</c:v>
                </c:pt>
                <c:pt idx="283">
                  <c:v>41319</c:v>
                </c:pt>
                <c:pt idx="284">
                  <c:v>41320</c:v>
                </c:pt>
                <c:pt idx="285">
                  <c:v>41323</c:v>
                </c:pt>
                <c:pt idx="286">
                  <c:v>41324</c:v>
                </c:pt>
                <c:pt idx="287">
                  <c:v>41325</c:v>
                </c:pt>
                <c:pt idx="288">
                  <c:v>41326</c:v>
                </c:pt>
                <c:pt idx="289">
                  <c:v>41327</c:v>
                </c:pt>
                <c:pt idx="290">
                  <c:v>41330</c:v>
                </c:pt>
                <c:pt idx="291">
                  <c:v>41331</c:v>
                </c:pt>
                <c:pt idx="292">
                  <c:v>41332</c:v>
                </c:pt>
                <c:pt idx="293">
                  <c:v>41333</c:v>
                </c:pt>
                <c:pt idx="294">
                  <c:v>41334</c:v>
                </c:pt>
                <c:pt idx="295">
                  <c:v>41337</c:v>
                </c:pt>
                <c:pt idx="296">
                  <c:v>41338</c:v>
                </c:pt>
                <c:pt idx="297">
                  <c:v>41339</c:v>
                </c:pt>
                <c:pt idx="298">
                  <c:v>41340</c:v>
                </c:pt>
                <c:pt idx="299">
                  <c:v>41344</c:v>
                </c:pt>
                <c:pt idx="300">
                  <c:v>41345</c:v>
                </c:pt>
                <c:pt idx="301">
                  <c:v>41346</c:v>
                </c:pt>
                <c:pt idx="302">
                  <c:v>41347</c:v>
                </c:pt>
                <c:pt idx="303">
                  <c:v>41348</c:v>
                </c:pt>
                <c:pt idx="304">
                  <c:v>41351</c:v>
                </c:pt>
                <c:pt idx="305">
                  <c:v>41352</c:v>
                </c:pt>
                <c:pt idx="306">
                  <c:v>41353</c:v>
                </c:pt>
                <c:pt idx="307">
                  <c:v>41354</c:v>
                </c:pt>
                <c:pt idx="308">
                  <c:v>41355</c:v>
                </c:pt>
                <c:pt idx="309">
                  <c:v>41358</c:v>
                </c:pt>
                <c:pt idx="310">
                  <c:v>41359</c:v>
                </c:pt>
                <c:pt idx="311">
                  <c:v>41360</c:v>
                </c:pt>
                <c:pt idx="312">
                  <c:v>41361</c:v>
                </c:pt>
                <c:pt idx="313">
                  <c:v>41362</c:v>
                </c:pt>
                <c:pt idx="314">
                  <c:v>41365</c:v>
                </c:pt>
                <c:pt idx="315">
                  <c:v>41366</c:v>
                </c:pt>
                <c:pt idx="316">
                  <c:v>41367</c:v>
                </c:pt>
                <c:pt idx="317">
                  <c:v>41368</c:v>
                </c:pt>
                <c:pt idx="318">
                  <c:v>41369</c:v>
                </c:pt>
                <c:pt idx="319">
                  <c:v>41372</c:v>
                </c:pt>
                <c:pt idx="320">
                  <c:v>41373</c:v>
                </c:pt>
                <c:pt idx="321">
                  <c:v>41374</c:v>
                </c:pt>
                <c:pt idx="322">
                  <c:v>41375</c:v>
                </c:pt>
                <c:pt idx="323">
                  <c:v>41376</c:v>
                </c:pt>
                <c:pt idx="324">
                  <c:v>41379</c:v>
                </c:pt>
                <c:pt idx="325">
                  <c:v>41380</c:v>
                </c:pt>
                <c:pt idx="326">
                  <c:v>41381</c:v>
                </c:pt>
                <c:pt idx="327">
                  <c:v>41382</c:v>
                </c:pt>
                <c:pt idx="328">
                  <c:v>41383</c:v>
                </c:pt>
                <c:pt idx="329">
                  <c:v>41386</c:v>
                </c:pt>
                <c:pt idx="330">
                  <c:v>41387</c:v>
                </c:pt>
                <c:pt idx="331">
                  <c:v>41388</c:v>
                </c:pt>
                <c:pt idx="332">
                  <c:v>41389</c:v>
                </c:pt>
                <c:pt idx="333">
                  <c:v>41390</c:v>
                </c:pt>
                <c:pt idx="334">
                  <c:v>41393</c:v>
                </c:pt>
                <c:pt idx="335">
                  <c:v>41394</c:v>
                </c:pt>
                <c:pt idx="336">
                  <c:v>41396</c:v>
                </c:pt>
                <c:pt idx="337">
                  <c:v>41397</c:v>
                </c:pt>
                <c:pt idx="338">
                  <c:v>41400</c:v>
                </c:pt>
                <c:pt idx="339">
                  <c:v>41401</c:v>
                </c:pt>
                <c:pt idx="340">
                  <c:v>41402</c:v>
                </c:pt>
                <c:pt idx="341">
                  <c:v>41404</c:v>
                </c:pt>
                <c:pt idx="342">
                  <c:v>41407</c:v>
                </c:pt>
                <c:pt idx="343">
                  <c:v>41408</c:v>
                </c:pt>
                <c:pt idx="344">
                  <c:v>41409</c:v>
                </c:pt>
                <c:pt idx="345">
                  <c:v>41410</c:v>
                </c:pt>
                <c:pt idx="346">
                  <c:v>41411</c:v>
                </c:pt>
                <c:pt idx="347">
                  <c:v>41414</c:v>
                </c:pt>
                <c:pt idx="348">
                  <c:v>41415</c:v>
                </c:pt>
                <c:pt idx="349">
                  <c:v>41416</c:v>
                </c:pt>
                <c:pt idx="350">
                  <c:v>41417</c:v>
                </c:pt>
                <c:pt idx="351">
                  <c:v>41418</c:v>
                </c:pt>
                <c:pt idx="352">
                  <c:v>41421</c:v>
                </c:pt>
                <c:pt idx="353">
                  <c:v>41422</c:v>
                </c:pt>
                <c:pt idx="354">
                  <c:v>41423</c:v>
                </c:pt>
                <c:pt idx="355">
                  <c:v>41424</c:v>
                </c:pt>
                <c:pt idx="356">
                  <c:v>41425</c:v>
                </c:pt>
                <c:pt idx="357">
                  <c:v>41428</c:v>
                </c:pt>
                <c:pt idx="358">
                  <c:v>41429</c:v>
                </c:pt>
                <c:pt idx="359">
                  <c:v>41430</c:v>
                </c:pt>
                <c:pt idx="360">
                  <c:v>41431</c:v>
                </c:pt>
                <c:pt idx="361">
                  <c:v>41432</c:v>
                </c:pt>
                <c:pt idx="362">
                  <c:v>41435</c:v>
                </c:pt>
                <c:pt idx="363">
                  <c:v>41436</c:v>
                </c:pt>
                <c:pt idx="364">
                  <c:v>41438</c:v>
                </c:pt>
                <c:pt idx="365">
                  <c:v>41439</c:v>
                </c:pt>
                <c:pt idx="366">
                  <c:v>41442</c:v>
                </c:pt>
                <c:pt idx="367">
                  <c:v>41443</c:v>
                </c:pt>
                <c:pt idx="368">
                  <c:v>41444</c:v>
                </c:pt>
                <c:pt idx="369">
                  <c:v>41445</c:v>
                </c:pt>
                <c:pt idx="370">
                  <c:v>41446</c:v>
                </c:pt>
                <c:pt idx="371">
                  <c:v>41449</c:v>
                </c:pt>
                <c:pt idx="372">
                  <c:v>41450</c:v>
                </c:pt>
                <c:pt idx="373">
                  <c:v>41451</c:v>
                </c:pt>
                <c:pt idx="374">
                  <c:v>41452</c:v>
                </c:pt>
                <c:pt idx="375">
                  <c:v>41453</c:v>
                </c:pt>
                <c:pt idx="376">
                  <c:v>41456</c:v>
                </c:pt>
                <c:pt idx="377">
                  <c:v>41457</c:v>
                </c:pt>
                <c:pt idx="378">
                  <c:v>41458</c:v>
                </c:pt>
                <c:pt idx="379">
                  <c:v>41459</c:v>
                </c:pt>
                <c:pt idx="380">
                  <c:v>41460</c:v>
                </c:pt>
                <c:pt idx="381">
                  <c:v>41463</c:v>
                </c:pt>
                <c:pt idx="382">
                  <c:v>41464</c:v>
                </c:pt>
                <c:pt idx="383">
                  <c:v>41465</c:v>
                </c:pt>
                <c:pt idx="384">
                  <c:v>41466</c:v>
                </c:pt>
                <c:pt idx="385">
                  <c:v>41467</c:v>
                </c:pt>
                <c:pt idx="386">
                  <c:v>41470</c:v>
                </c:pt>
                <c:pt idx="387">
                  <c:v>41471</c:v>
                </c:pt>
                <c:pt idx="388">
                  <c:v>41472</c:v>
                </c:pt>
                <c:pt idx="389">
                  <c:v>41473</c:v>
                </c:pt>
                <c:pt idx="390">
                  <c:v>41474</c:v>
                </c:pt>
                <c:pt idx="391">
                  <c:v>41477</c:v>
                </c:pt>
                <c:pt idx="392">
                  <c:v>41478</c:v>
                </c:pt>
                <c:pt idx="393">
                  <c:v>41479</c:v>
                </c:pt>
                <c:pt idx="394">
                  <c:v>41480</c:v>
                </c:pt>
                <c:pt idx="395">
                  <c:v>41481</c:v>
                </c:pt>
                <c:pt idx="396">
                  <c:v>41484</c:v>
                </c:pt>
                <c:pt idx="397">
                  <c:v>41485</c:v>
                </c:pt>
                <c:pt idx="398">
                  <c:v>41486</c:v>
                </c:pt>
                <c:pt idx="399">
                  <c:v>41487</c:v>
                </c:pt>
                <c:pt idx="400">
                  <c:v>41488</c:v>
                </c:pt>
                <c:pt idx="401">
                  <c:v>41491</c:v>
                </c:pt>
                <c:pt idx="402">
                  <c:v>41492</c:v>
                </c:pt>
                <c:pt idx="403">
                  <c:v>41493</c:v>
                </c:pt>
                <c:pt idx="404">
                  <c:v>41494</c:v>
                </c:pt>
                <c:pt idx="405">
                  <c:v>41495</c:v>
                </c:pt>
                <c:pt idx="406">
                  <c:v>41498</c:v>
                </c:pt>
                <c:pt idx="407">
                  <c:v>41499</c:v>
                </c:pt>
                <c:pt idx="408">
                  <c:v>41500</c:v>
                </c:pt>
                <c:pt idx="409">
                  <c:v>41501</c:v>
                </c:pt>
                <c:pt idx="410">
                  <c:v>41502</c:v>
                </c:pt>
                <c:pt idx="411">
                  <c:v>41505</c:v>
                </c:pt>
                <c:pt idx="412">
                  <c:v>41506</c:v>
                </c:pt>
                <c:pt idx="413">
                  <c:v>41507</c:v>
                </c:pt>
                <c:pt idx="414">
                  <c:v>41508</c:v>
                </c:pt>
                <c:pt idx="415">
                  <c:v>41509</c:v>
                </c:pt>
                <c:pt idx="416">
                  <c:v>41512</c:v>
                </c:pt>
                <c:pt idx="417">
                  <c:v>41513</c:v>
                </c:pt>
                <c:pt idx="418">
                  <c:v>41514</c:v>
                </c:pt>
                <c:pt idx="419">
                  <c:v>41515</c:v>
                </c:pt>
                <c:pt idx="420">
                  <c:v>41516</c:v>
                </c:pt>
                <c:pt idx="421">
                  <c:v>41519</c:v>
                </c:pt>
                <c:pt idx="422">
                  <c:v>41520</c:v>
                </c:pt>
                <c:pt idx="423">
                  <c:v>41521</c:v>
                </c:pt>
                <c:pt idx="424">
                  <c:v>41522</c:v>
                </c:pt>
                <c:pt idx="425">
                  <c:v>41523</c:v>
                </c:pt>
                <c:pt idx="426">
                  <c:v>41526</c:v>
                </c:pt>
                <c:pt idx="427">
                  <c:v>41527</c:v>
                </c:pt>
                <c:pt idx="428">
                  <c:v>41528</c:v>
                </c:pt>
                <c:pt idx="429">
                  <c:v>41529</c:v>
                </c:pt>
                <c:pt idx="430">
                  <c:v>41530</c:v>
                </c:pt>
                <c:pt idx="431">
                  <c:v>41533</c:v>
                </c:pt>
                <c:pt idx="432">
                  <c:v>41534</c:v>
                </c:pt>
                <c:pt idx="433">
                  <c:v>41535</c:v>
                </c:pt>
                <c:pt idx="434">
                  <c:v>41536</c:v>
                </c:pt>
                <c:pt idx="435">
                  <c:v>41537</c:v>
                </c:pt>
                <c:pt idx="436">
                  <c:v>41540</c:v>
                </c:pt>
                <c:pt idx="437">
                  <c:v>41541</c:v>
                </c:pt>
                <c:pt idx="438">
                  <c:v>41542</c:v>
                </c:pt>
                <c:pt idx="439">
                  <c:v>41543</c:v>
                </c:pt>
                <c:pt idx="440">
                  <c:v>41544</c:v>
                </c:pt>
                <c:pt idx="441">
                  <c:v>41547</c:v>
                </c:pt>
                <c:pt idx="442">
                  <c:v>41548</c:v>
                </c:pt>
                <c:pt idx="443">
                  <c:v>41549</c:v>
                </c:pt>
                <c:pt idx="444">
                  <c:v>41550</c:v>
                </c:pt>
                <c:pt idx="445">
                  <c:v>41551</c:v>
                </c:pt>
                <c:pt idx="446">
                  <c:v>41554</c:v>
                </c:pt>
                <c:pt idx="447">
                  <c:v>41555</c:v>
                </c:pt>
                <c:pt idx="448">
                  <c:v>41556</c:v>
                </c:pt>
                <c:pt idx="449">
                  <c:v>41557</c:v>
                </c:pt>
                <c:pt idx="450">
                  <c:v>41558</c:v>
                </c:pt>
                <c:pt idx="451">
                  <c:v>41561</c:v>
                </c:pt>
                <c:pt idx="452">
                  <c:v>41562</c:v>
                </c:pt>
                <c:pt idx="453">
                  <c:v>41563</c:v>
                </c:pt>
                <c:pt idx="454">
                  <c:v>41564</c:v>
                </c:pt>
                <c:pt idx="455">
                  <c:v>41565</c:v>
                </c:pt>
                <c:pt idx="456">
                  <c:v>41568</c:v>
                </c:pt>
                <c:pt idx="457">
                  <c:v>41569</c:v>
                </c:pt>
                <c:pt idx="458">
                  <c:v>41570</c:v>
                </c:pt>
                <c:pt idx="459">
                  <c:v>41571</c:v>
                </c:pt>
                <c:pt idx="460">
                  <c:v>41572</c:v>
                </c:pt>
                <c:pt idx="461">
                  <c:v>41575</c:v>
                </c:pt>
                <c:pt idx="462">
                  <c:v>41576</c:v>
                </c:pt>
                <c:pt idx="463">
                  <c:v>41577</c:v>
                </c:pt>
                <c:pt idx="464">
                  <c:v>41578</c:v>
                </c:pt>
                <c:pt idx="465">
                  <c:v>41579</c:v>
                </c:pt>
                <c:pt idx="466">
                  <c:v>41583</c:v>
                </c:pt>
                <c:pt idx="467">
                  <c:v>41584</c:v>
                </c:pt>
                <c:pt idx="468">
                  <c:v>41585</c:v>
                </c:pt>
                <c:pt idx="469">
                  <c:v>41586</c:v>
                </c:pt>
                <c:pt idx="470">
                  <c:v>41589</c:v>
                </c:pt>
                <c:pt idx="471">
                  <c:v>41590</c:v>
                </c:pt>
                <c:pt idx="472">
                  <c:v>41591</c:v>
                </c:pt>
                <c:pt idx="473">
                  <c:v>41592</c:v>
                </c:pt>
                <c:pt idx="474">
                  <c:v>41593</c:v>
                </c:pt>
                <c:pt idx="475">
                  <c:v>41596</c:v>
                </c:pt>
                <c:pt idx="476">
                  <c:v>41597</c:v>
                </c:pt>
                <c:pt idx="477">
                  <c:v>41598</c:v>
                </c:pt>
                <c:pt idx="478">
                  <c:v>41599</c:v>
                </c:pt>
                <c:pt idx="479">
                  <c:v>41600</c:v>
                </c:pt>
                <c:pt idx="480">
                  <c:v>41603</c:v>
                </c:pt>
                <c:pt idx="481">
                  <c:v>41604</c:v>
                </c:pt>
                <c:pt idx="482">
                  <c:v>41605</c:v>
                </c:pt>
                <c:pt idx="483">
                  <c:v>41606</c:v>
                </c:pt>
                <c:pt idx="484">
                  <c:v>41607</c:v>
                </c:pt>
                <c:pt idx="485">
                  <c:v>41610</c:v>
                </c:pt>
                <c:pt idx="486">
                  <c:v>41611</c:v>
                </c:pt>
                <c:pt idx="487">
                  <c:v>41612</c:v>
                </c:pt>
                <c:pt idx="488">
                  <c:v>41613</c:v>
                </c:pt>
                <c:pt idx="489">
                  <c:v>41614</c:v>
                </c:pt>
                <c:pt idx="490">
                  <c:v>41617</c:v>
                </c:pt>
                <c:pt idx="491">
                  <c:v>41618</c:v>
                </c:pt>
                <c:pt idx="492">
                  <c:v>41619</c:v>
                </c:pt>
                <c:pt idx="493">
                  <c:v>41620</c:v>
                </c:pt>
                <c:pt idx="494">
                  <c:v>41621</c:v>
                </c:pt>
                <c:pt idx="495">
                  <c:v>41624</c:v>
                </c:pt>
                <c:pt idx="496">
                  <c:v>41625</c:v>
                </c:pt>
                <c:pt idx="497">
                  <c:v>41626</c:v>
                </c:pt>
                <c:pt idx="498">
                  <c:v>41627</c:v>
                </c:pt>
                <c:pt idx="499">
                  <c:v>41628</c:v>
                </c:pt>
                <c:pt idx="500">
                  <c:v>41631</c:v>
                </c:pt>
                <c:pt idx="501">
                  <c:v>41632</c:v>
                </c:pt>
                <c:pt idx="502">
                  <c:v>41633</c:v>
                </c:pt>
                <c:pt idx="503">
                  <c:v>41634</c:v>
                </c:pt>
                <c:pt idx="504">
                  <c:v>41635</c:v>
                </c:pt>
                <c:pt idx="505">
                  <c:v>41638</c:v>
                </c:pt>
                <c:pt idx="506">
                  <c:v>41645</c:v>
                </c:pt>
                <c:pt idx="507">
                  <c:v>41647</c:v>
                </c:pt>
                <c:pt idx="508">
                  <c:v>41648</c:v>
                </c:pt>
                <c:pt idx="509">
                  <c:v>41649</c:v>
                </c:pt>
                <c:pt idx="510">
                  <c:v>41652</c:v>
                </c:pt>
                <c:pt idx="511">
                  <c:v>41653</c:v>
                </c:pt>
                <c:pt idx="512">
                  <c:v>41654</c:v>
                </c:pt>
                <c:pt idx="513">
                  <c:v>41655</c:v>
                </c:pt>
                <c:pt idx="514">
                  <c:v>41656</c:v>
                </c:pt>
                <c:pt idx="515">
                  <c:v>41659</c:v>
                </c:pt>
                <c:pt idx="516">
                  <c:v>41660</c:v>
                </c:pt>
                <c:pt idx="517">
                  <c:v>41661</c:v>
                </c:pt>
                <c:pt idx="518">
                  <c:v>41662</c:v>
                </c:pt>
                <c:pt idx="519">
                  <c:v>41663</c:v>
                </c:pt>
                <c:pt idx="520">
                  <c:v>41666</c:v>
                </c:pt>
                <c:pt idx="521">
                  <c:v>41667</c:v>
                </c:pt>
                <c:pt idx="522">
                  <c:v>41668</c:v>
                </c:pt>
                <c:pt idx="523">
                  <c:v>41669</c:v>
                </c:pt>
                <c:pt idx="524">
                  <c:v>41670</c:v>
                </c:pt>
                <c:pt idx="525">
                  <c:v>41673</c:v>
                </c:pt>
                <c:pt idx="526">
                  <c:v>41674</c:v>
                </c:pt>
                <c:pt idx="527">
                  <c:v>41675</c:v>
                </c:pt>
                <c:pt idx="528">
                  <c:v>41676</c:v>
                </c:pt>
                <c:pt idx="529">
                  <c:v>41677</c:v>
                </c:pt>
                <c:pt idx="530">
                  <c:v>41680</c:v>
                </c:pt>
                <c:pt idx="531">
                  <c:v>41681</c:v>
                </c:pt>
                <c:pt idx="532">
                  <c:v>41682</c:v>
                </c:pt>
                <c:pt idx="533">
                  <c:v>41683</c:v>
                </c:pt>
                <c:pt idx="534">
                  <c:v>41684</c:v>
                </c:pt>
                <c:pt idx="535">
                  <c:v>41687</c:v>
                </c:pt>
                <c:pt idx="536">
                  <c:v>41688</c:v>
                </c:pt>
                <c:pt idx="537">
                  <c:v>41689</c:v>
                </c:pt>
                <c:pt idx="538">
                  <c:v>41690</c:v>
                </c:pt>
                <c:pt idx="539">
                  <c:v>41691</c:v>
                </c:pt>
                <c:pt idx="540">
                  <c:v>41694</c:v>
                </c:pt>
                <c:pt idx="541">
                  <c:v>41695</c:v>
                </c:pt>
                <c:pt idx="542">
                  <c:v>41696</c:v>
                </c:pt>
                <c:pt idx="543">
                  <c:v>41697</c:v>
                </c:pt>
                <c:pt idx="544">
                  <c:v>41698</c:v>
                </c:pt>
                <c:pt idx="545">
                  <c:v>41701</c:v>
                </c:pt>
                <c:pt idx="546">
                  <c:v>41702</c:v>
                </c:pt>
                <c:pt idx="547">
                  <c:v>41703</c:v>
                </c:pt>
                <c:pt idx="548">
                  <c:v>41704</c:v>
                </c:pt>
                <c:pt idx="549">
                  <c:v>41705</c:v>
                </c:pt>
                <c:pt idx="550">
                  <c:v>41709</c:v>
                </c:pt>
                <c:pt idx="551">
                  <c:v>41710</c:v>
                </c:pt>
                <c:pt idx="552">
                  <c:v>41711</c:v>
                </c:pt>
                <c:pt idx="553">
                  <c:v>41712</c:v>
                </c:pt>
                <c:pt idx="554">
                  <c:v>41715</c:v>
                </c:pt>
                <c:pt idx="555">
                  <c:v>41716</c:v>
                </c:pt>
                <c:pt idx="556">
                  <c:v>41717</c:v>
                </c:pt>
                <c:pt idx="557">
                  <c:v>41718</c:v>
                </c:pt>
                <c:pt idx="558">
                  <c:v>41719</c:v>
                </c:pt>
                <c:pt idx="559">
                  <c:v>41722</c:v>
                </c:pt>
                <c:pt idx="560">
                  <c:v>41723</c:v>
                </c:pt>
                <c:pt idx="561">
                  <c:v>41724</c:v>
                </c:pt>
                <c:pt idx="562">
                  <c:v>41725</c:v>
                </c:pt>
                <c:pt idx="563">
                  <c:v>41726</c:v>
                </c:pt>
                <c:pt idx="564">
                  <c:v>41729</c:v>
                </c:pt>
                <c:pt idx="565">
                  <c:v>41730</c:v>
                </c:pt>
                <c:pt idx="566">
                  <c:v>41731</c:v>
                </c:pt>
                <c:pt idx="567">
                  <c:v>41732</c:v>
                </c:pt>
                <c:pt idx="568">
                  <c:v>41733</c:v>
                </c:pt>
                <c:pt idx="569">
                  <c:v>41736</c:v>
                </c:pt>
                <c:pt idx="570">
                  <c:v>41737</c:v>
                </c:pt>
                <c:pt idx="571">
                  <c:v>41738</c:v>
                </c:pt>
                <c:pt idx="572">
                  <c:v>41739</c:v>
                </c:pt>
                <c:pt idx="573">
                  <c:v>41740</c:v>
                </c:pt>
                <c:pt idx="574">
                  <c:v>41743</c:v>
                </c:pt>
                <c:pt idx="575">
                  <c:v>41744</c:v>
                </c:pt>
                <c:pt idx="576">
                  <c:v>41745</c:v>
                </c:pt>
                <c:pt idx="577">
                  <c:v>41746</c:v>
                </c:pt>
                <c:pt idx="578">
                  <c:v>41747</c:v>
                </c:pt>
                <c:pt idx="579">
                  <c:v>41750</c:v>
                </c:pt>
                <c:pt idx="580">
                  <c:v>41751</c:v>
                </c:pt>
                <c:pt idx="581">
                  <c:v>41752</c:v>
                </c:pt>
                <c:pt idx="582">
                  <c:v>41753</c:v>
                </c:pt>
                <c:pt idx="583">
                  <c:v>41754</c:v>
                </c:pt>
                <c:pt idx="584">
                  <c:v>41757</c:v>
                </c:pt>
                <c:pt idx="585">
                  <c:v>41758</c:v>
                </c:pt>
                <c:pt idx="586">
                  <c:v>41759</c:v>
                </c:pt>
                <c:pt idx="587">
                  <c:v>41761</c:v>
                </c:pt>
                <c:pt idx="588">
                  <c:v>41764</c:v>
                </c:pt>
                <c:pt idx="589">
                  <c:v>41765</c:v>
                </c:pt>
                <c:pt idx="590">
                  <c:v>41766</c:v>
                </c:pt>
                <c:pt idx="591">
                  <c:v>41767</c:v>
                </c:pt>
                <c:pt idx="592">
                  <c:v>41771</c:v>
                </c:pt>
                <c:pt idx="593">
                  <c:v>41772</c:v>
                </c:pt>
                <c:pt idx="594">
                  <c:v>41773</c:v>
                </c:pt>
                <c:pt idx="595">
                  <c:v>41774</c:v>
                </c:pt>
                <c:pt idx="596">
                  <c:v>41775</c:v>
                </c:pt>
                <c:pt idx="597">
                  <c:v>41778</c:v>
                </c:pt>
                <c:pt idx="598">
                  <c:v>41779</c:v>
                </c:pt>
                <c:pt idx="599">
                  <c:v>41780</c:v>
                </c:pt>
                <c:pt idx="600">
                  <c:v>41781</c:v>
                </c:pt>
                <c:pt idx="601">
                  <c:v>41782</c:v>
                </c:pt>
                <c:pt idx="602">
                  <c:v>41785</c:v>
                </c:pt>
                <c:pt idx="603">
                  <c:v>41786</c:v>
                </c:pt>
                <c:pt idx="604">
                  <c:v>41787</c:v>
                </c:pt>
                <c:pt idx="605">
                  <c:v>41788</c:v>
                </c:pt>
                <c:pt idx="606">
                  <c:v>41789</c:v>
                </c:pt>
                <c:pt idx="607">
                  <c:v>41792</c:v>
                </c:pt>
                <c:pt idx="608">
                  <c:v>41793</c:v>
                </c:pt>
                <c:pt idx="609">
                  <c:v>41794</c:v>
                </c:pt>
                <c:pt idx="610">
                  <c:v>41795</c:v>
                </c:pt>
                <c:pt idx="611">
                  <c:v>41796</c:v>
                </c:pt>
                <c:pt idx="612">
                  <c:v>41799</c:v>
                </c:pt>
                <c:pt idx="613">
                  <c:v>41800</c:v>
                </c:pt>
                <c:pt idx="614">
                  <c:v>41801</c:v>
                </c:pt>
                <c:pt idx="615">
                  <c:v>41806</c:v>
                </c:pt>
                <c:pt idx="616">
                  <c:v>41807</c:v>
                </c:pt>
                <c:pt idx="617">
                  <c:v>41808</c:v>
                </c:pt>
                <c:pt idx="618">
                  <c:v>41809</c:v>
                </c:pt>
                <c:pt idx="619">
                  <c:v>41810</c:v>
                </c:pt>
                <c:pt idx="620">
                  <c:v>41813</c:v>
                </c:pt>
                <c:pt idx="621">
                  <c:v>41814</c:v>
                </c:pt>
                <c:pt idx="622">
                  <c:v>41815</c:v>
                </c:pt>
                <c:pt idx="623">
                  <c:v>41816</c:v>
                </c:pt>
                <c:pt idx="624">
                  <c:v>41817</c:v>
                </c:pt>
                <c:pt idx="625">
                  <c:v>41820</c:v>
                </c:pt>
                <c:pt idx="626">
                  <c:v>41821</c:v>
                </c:pt>
                <c:pt idx="627">
                  <c:v>41822</c:v>
                </c:pt>
                <c:pt idx="628">
                  <c:v>41823</c:v>
                </c:pt>
                <c:pt idx="629">
                  <c:v>41824</c:v>
                </c:pt>
                <c:pt idx="630">
                  <c:v>41827</c:v>
                </c:pt>
                <c:pt idx="631">
                  <c:v>41828</c:v>
                </c:pt>
                <c:pt idx="632">
                  <c:v>41829</c:v>
                </c:pt>
                <c:pt idx="633">
                  <c:v>41830</c:v>
                </c:pt>
                <c:pt idx="634">
                  <c:v>41831</c:v>
                </c:pt>
                <c:pt idx="635">
                  <c:v>41834</c:v>
                </c:pt>
                <c:pt idx="636">
                  <c:v>41835</c:v>
                </c:pt>
                <c:pt idx="637">
                  <c:v>41836</c:v>
                </c:pt>
                <c:pt idx="638">
                  <c:v>41837</c:v>
                </c:pt>
                <c:pt idx="639">
                  <c:v>41838</c:v>
                </c:pt>
                <c:pt idx="640">
                  <c:v>41841</c:v>
                </c:pt>
                <c:pt idx="641">
                  <c:v>41842</c:v>
                </c:pt>
                <c:pt idx="642">
                  <c:v>41843</c:v>
                </c:pt>
                <c:pt idx="643">
                  <c:v>41844</c:v>
                </c:pt>
                <c:pt idx="644">
                  <c:v>41845</c:v>
                </c:pt>
                <c:pt idx="645">
                  <c:v>41848</c:v>
                </c:pt>
                <c:pt idx="646">
                  <c:v>41849</c:v>
                </c:pt>
                <c:pt idx="647">
                  <c:v>41850</c:v>
                </c:pt>
                <c:pt idx="648">
                  <c:v>41851</c:v>
                </c:pt>
                <c:pt idx="649">
                  <c:v>41852</c:v>
                </c:pt>
                <c:pt idx="650">
                  <c:v>41855</c:v>
                </c:pt>
                <c:pt idx="651">
                  <c:v>41856</c:v>
                </c:pt>
                <c:pt idx="652">
                  <c:v>41857</c:v>
                </c:pt>
                <c:pt idx="653">
                  <c:v>41858</c:v>
                </c:pt>
                <c:pt idx="654">
                  <c:v>41859</c:v>
                </c:pt>
                <c:pt idx="655">
                  <c:v>41862</c:v>
                </c:pt>
                <c:pt idx="656">
                  <c:v>41863</c:v>
                </c:pt>
                <c:pt idx="657">
                  <c:v>41864</c:v>
                </c:pt>
                <c:pt idx="658">
                  <c:v>41865</c:v>
                </c:pt>
                <c:pt idx="659">
                  <c:v>41866</c:v>
                </c:pt>
                <c:pt idx="660">
                  <c:v>41869</c:v>
                </c:pt>
                <c:pt idx="661">
                  <c:v>41870</c:v>
                </c:pt>
                <c:pt idx="662">
                  <c:v>41871</c:v>
                </c:pt>
                <c:pt idx="663">
                  <c:v>41872</c:v>
                </c:pt>
                <c:pt idx="664">
                  <c:v>41873</c:v>
                </c:pt>
                <c:pt idx="665">
                  <c:v>41876</c:v>
                </c:pt>
                <c:pt idx="666">
                  <c:v>41877</c:v>
                </c:pt>
                <c:pt idx="667">
                  <c:v>41878</c:v>
                </c:pt>
                <c:pt idx="668">
                  <c:v>41879</c:v>
                </c:pt>
                <c:pt idx="669">
                  <c:v>41880</c:v>
                </c:pt>
                <c:pt idx="670">
                  <c:v>41883</c:v>
                </c:pt>
                <c:pt idx="671">
                  <c:v>41884</c:v>
                </c:pt>
                <c:pt idx="672">
                  <c:v>41885</c:v>
                </c:pt>
                <c:pt idx="673">
                  <c:v>41886</c:v>
                </c:pt>
                <c:pt idx="674">
                  <c:v>41887</c:v>
                </c:pt>
                <c:pt idx="675">
                  <c:v>41890</c:v>
                </c:pt>
                <c:pt idx="676">
                  <c:v>41891</c:v>
                </c:pt>
                <c:pt idx="677">
                  <c:v>41892</c:v>
                </c:pt>
                <c:pt idx="678">
                  <c:v>41893</c:v>
                </c:pt>
                <c:pt idx="679">
                  <c:v>41894</c:v>
                </c:pt>
                <c:pt idx="680">
                  <c:v>41897</c:v>
                </c:pt>
                <c:pt idx="681">
                  <c:v>41898</c:v>
                </c:pt>
                <c:pt idx="682">
                  <c:v>41899</c:v>
                </c:pt>
                <c:pt idx="683">
                  <c:v>41900</c:v>
                </c:pt>
                <c:pt idx="684">
                  <c:v>41901</c:v>
                </c:pt>
                <c:pt idx="685">
                  <c:v>41904</c:v>
                </c:pt>
                <c:pt idx="686">
                  <c:v>41905</c:v>
                </c:pt>
                <c:pt idx="687">
                  <c:v>41906</c:v>
                </c:pt>
                <c:pt idx="688">
                  <c:v>41907</c:v>
                </c:pt>
                <c:pt idx="689">
                  <c:v>41908</c:v>
                </c:pt>
                <c:pt idx="690">
                  <c:v>41911</c:v>
                </c:pt>
                <c:pt idx="691">
                  <c:v>41912</c:v>
                </c:pt>
                <c:pt idx="692">
                  <c:v>41913</c:v>
                </c:pt>
                <c:pt idx="693">
                  <c:v>41914</c:v>
                </c:pt>
                <c:pt idx="694">
                  <c:v>41915</c:v>
                </c:pt>
                <c:pt idx="695">
                  <c:v>41918</c:v>
                </c:pt>
                <c:pt idx="696">
                  <c:v>41919</c:v>
                </c:pt>
                <c:pt idx="697">
                  <c:v>41920</c:v>
                </c:pt>
                <c:pt idx="698">
                  <c:v>41921</c:v>
                </c:pt>
                <c:pt idx="699">
                  <c:v>41922</c:v>
                </c:pt>
                <c:pt idx="700">
                  <c:v>41925</c:v>
                </c:pt>
                <c:pt idx="701">
                  <c:v>41926</c:v>
                </c:pt>
                <c:pt idx="702">
                  <c:v>41927</c:v>
                </c:pt>
                <c:pt idx="703">
                  <c:v>41928</c:v>
                </c:pt>
                <c:pt idx="704">
                  <c:v>41929</c:v>
                </c:pt>
                <c:pt idx="705">
                  <c:v>41932</c:v>
                </c:pt>
                <c:pt idx="706">
                  <c:v>41933</c:v>
                </c:pt>
                <c:pt idx="707">
                  <c:v>41934</c:v>
                </c:pt>
                <c:pt idx="708">
                  <c:v>41935</c:v>
                </c:pt>
                <c:pt idx="709">
                  <c:v>41936</c:v>
                </c:pt>
                <c:pt idx="710">
                  <c:v>41939</c:v>
                </c:pt>
                <c:pt idx="711">
                  <c:v>41940</c:v>
                </c:pt>
                <c:pt idx="712">
                  <c:v>41941</c:v>
                </c:pt>
                <c:pt idx="713">
                  <c:v>41942</c:v>
                </c:pt>
                <c:pt idx="714">
                  <c:v>41943</c:v>
                </c:pt>
                <c:pt idx="715">
                  <c:v>41946</c:v>
                </c:pt>
                <c:pt idx="716">
                  <c:v>41948</c:v>
                </c:pt>
                <c:pt idx="717">
                  <c:v>41949</c:v>
                </c:pt>
                <c:pt idx="718">
                  <c:v>41950</c:v>
                </c:pt>
                <c:pt idx="719">
                  <c:v>41953</c:v>
                </c:pt>
                <c:pt idx="720">
                  <c:v>41954</c:v>
                </c:pt>
                <c:pt idx="721">
                  <c:v>41955</c:v>
                </c:pt>
                <c:pt idx="722">
                  <c:v>41956</c:v>
                </c:pt>
                <c:pt idx="723">
                  <c:v>41957</c:v>
                </c:pt>
                <c:pt idx="724">
                  <c:v>41960</c:v>
                </c:pt>
                <c:pt idx="725">
                  <c:v>41961</c:v>
                </c:pt>
                <c:pt idx="726">
                  <c:v>41962</c:v>
                </c:pt>
                <c:pt idx="727">
                  <c:v>41963</c:v>
                </c:pt>
                <c:pt idx="728">
                  <c:v>41964</c:v>
                </c:pt>
                <c:pt idx="729">
                  <c:v>41967</c:v>
                </c:pt>
                <c:pt idx="730">
                  <c:v>41968</c:v>
                </c:pt>
                <c:pt idx="731">
                  <c:v>41969</c:v>
                </c:pt>
                <c:pt idx="732">
                  <c:v>41970</c:v>
                </c:pt>
                <c:pt idx="733">
                  <c:v>41971</c:v>
                </c:pt>
                <c:pt idx="734">
                  <c:v>41974</c:v>
                </c:pt>
                <c:pt idx="735">
                  <c:v>41975</c:v>
                </c:pt>
                <c:pt idx="736">
                  <c:v>41976</c:v>
                </c:pt>
                <c:pt idx="737">
                  <c:v>41977</c:v>
                </c:pt>
                <c:pt idx="738">
                  <c:v>41978</c:v>
                </c:pt>
                <c:pt idx="739">
                  <c:v>41981</c:v>
                </c:pt>
                <c:pt idx="740">
                  <c:v>41982</c:v>
                </c:pt>
                <c:pt idx="741">
                  <c:v>41983</c:v>
                </c:pt>
                <c:pt idx="742">
                  <c:v>41984</c:v>
                </c:pt>
                <c:pt idx="743">
                  <c:v>41985</c:v>
                </c:pt>
                <c:pt idx="744">
                  <c:v>41988</c:v>
                </c:pt>
                <c:pt idx="745">
                  <c:v>41989</c:v>
                </c:pt>
                <c:pt idx="746">
                  <c:v>41990</c:v>
                </c:pt>
                <c:pt idx="747">
                  <c:v>41991</c:v>
                </c:pt>
                <c:pt idx="748">
                  <c:v>41992</c:v>
                </c:pt>
                <c:pt idx="749">
                  <c:v>41995</c:v>
                </c:pt>
                <c:pt idx="750">
                  <c:v>41996</c:v>
                </c:pt>
                <c:pt idx="751">
                  <c:v>41997</c:v>
                </c:pt>
                <c:pt idx="752">
                  <c:v>41998</c:v>
                </c:pt>
                <c:pt idx="753">
                  <c:v>41999</c:v>
                </c:pt>
                <c:pt idx="754">
                  <c:v>42002</c:v>
                </c:pt>
                <c:pt idx="755">
                  <c:v>42003</c:v>
                </c:pt>
                <c:pt idx="756">
                  <c:v>42009</c:v>
                </c:pt>
                <c:pt idx="757">
                  <c:v>42010</c:v>
                </c:pt>
                <c:pt idx="758">
                  <c:v>42012</c:v>
                </c:pt>
                <c:pt idx="759">
                  <c:v>42013</c:v>
                </c:pt>
                <c:pt idx="760">
                  <c:v>42016</c:v>
                </c:pt>
                <c:pt idx="761">
                  <c:v>42017</c:v>
                </c:pt>
                <c:pt idx="762">
                  <c:v>42018</c:v>
                </c:pt>
                <c:pt idx="763">
                  <c:v>42019</c:v>
                </c:pt>
                <c:pt idx="764">
                  <c:v>42020</c:v>
                </c:pt>
                <c:pt idx="765">
                  <c:v>42023</c:v>
                </c:pt>
                <c:pt idx="766">
                  <c:v>42024</c:v>
                </c:pt>
                <c:pt idx="767">
                  <c:v>42025</c:v>
                </c:pt>
                <c:pt idx="768">
                  <c:v>42026</c:v>
                </c:pt>
                <c:pt idx="769">
                  <c:v>42027</c:v>
                </c:pt>
                <c:pt idx="770">
                  <c:v>42030</c:v>
                </c:pt>
                <c:pt idx="771">
                  <c:v>42031</c:v>
                </c:pt>
                <c:pt idx="772">
                  <c:v>42032</c:v>
                </c:pt>
                <c:pt idx="773">
                  <c:v>42033</c:v>
                </c:pt>
                <c:pt idx="774">
                  <c:v>42034</c:v>
                </c:pt>
                <c:pt idx="775">
                  <c:v>42037</c:v>
                </c:pt>
                <c:pt idx="776">
                  <c:v>42038</c:v>
                </c:pt>
                <c:pt idx="777">
                  <c:v>42039</c:v>
                </c:pt>
                <c:pt idx="778">
                  <c:v>42040</c:v>
                </c:pt>
                <c:pt idx="779">
                  <c:v>42041</c:v>
                </c:pt>
                <c:pt idx="780">
                  <c:v>42044</c:v>
                </c:pt>
                <c:pt idx="781">
                  <c:v>42045</c:v>
                </c:pt>
                <c:pt idx="782">
                  <c:v>42046</c:v>
                </c:pt>
                <c:pt idx="783">
                  <c:v>42047</c:v>
                </c:pt>
                <c:pt idx="784">
                  <c:v>42048</c:v>
                </c:pt>
                <c:pt idx="785">
                  <c:v>42051</c:v>
                </c:pt>
                <c:pt idx="786">
                  <c:v>42052</c:v>
                </c:pt>
                <c:pt idx="787">
                  <c:v>42053</c:v>
                </c:pt>
                <c:pt idx="788">
                  <c:v>42054</c:v>
                </c:pt>
                <c:pt idx="789">
                  <c:v>42055</c:v>
                </c:pt>
                <c:pt idx="790">
                  <c:v>42059</c:v>
                </c:pt>
                <c:pt idx="791">
                  <c:v>42060</c:v>
                </c:pt>
                <c:pt idx="792">
                  <c:v>42061</c:v>
                </c:pt>
                <c:pt idx="793">
                  <c:v>42062</c:v>
                </c:pt>
                <c:pt idx="794">
                  <c:v>42065</c:v>
                </c:pt>
                <c:pt idx="795">
                  <c:v>42066</c:v>
                </c:pt>
                <c:pt idx="796">
                  <c:v>42067</c:v>
                </c:pt>
                <c:pt idx="797">
                  <c:v>42068</c:v>
                </c:pt>
                <c:pt idx="798">
                  <c:v>42069</c:v>
                </c:pt>
                <c:pt idx="799">
                  <c:v>42073</c:v>
                </c:pt>
                <c:pt idx="800">
                  <c:v>42074</c:v>
                </c:pt>
                <c:pt idx="801">
                  <c:v>42075</c:v>
                </c:pt>
                <c:pt idx="802">
                  <c:v>42076</c:v>
                </c:pt>
                <c:pt idx="803">
                  <c:v>42079</c:v>
                </c:pt>
                <c:pt idx="804">
                  <c:v>42080</c:v>
                </c:pt>
                <c:pt idx="805">
                  <c:v>42081</c:v>
                </c:pt>
                <c:pt idx="806">
                  <c:v>42082</c:v>
                </c:pt>
                <c:pt idx="807">
                  <c:v>42083</c:v>
                </c:pt>
                <c:pt idx="808">
                  <c:v>42086</c:v>
                </c:pt>
                <c:pt idx="809">
                  <c:v>42087</c:v>
                </c:pt>
                <c:pt idx="810">
                  <c:v>42088</c:v>
                </c:pt>
                <c:pt idx="811">
                  <c:v>42089</c:v>
                </c:pt>
                <c:pt idx="812">
                  <c:v>42090</c:v>
                </c:pt>
                <c:pt idx="813">
                  <c:v>42093</c:v>
                </c:pt>
                <c:pt idx="814">
                  <c:v>42094</c:v>
                </c:pt>
                <c:pt idx="815">
                  <c:v>42095</c:v>
                </c:pt>
                <c:pt idx="816">
                  <c:v>42096</c:v>
                </c:pt>
                <c:pt idx="817">
                  <c:v>42097</c:v>
                </c:pt>
                <c:pt idx="818">
                  <c:v>42100</c:v>
                </c:pt>
                <c:pt idx="819">
                  <c:v>42101</c:v>
                </c:pt>
                <c:pt idx="820">
                  <c:v>42102</c:v>
                </c:pt>
                <c:pt idx="821">
                  <c:v>42103</c:v>
                </c:pt>
                <c:pt idx="822">
                  <c:v>42104</c:v>
                </c:pt>
                <c:pt idx="823">
                  <c:v>42107</c:v>
                </c:pt>
                <c:pt idx="824">
                  <c:v>42108</c:v>
                </c:pt>
                <c:pt idx="825">
                  <c:v>42109</c:v>
                </c:pt>
                <c:pt idx="826">
                  <c:v>42110</c:v>
                </c:pt>
                <c:pt idx="827">
                  <c:v>42111</c:v>
                </c:pt>
                <c:pt idx="828">
                  <c:v>42114</c:v>
                </c:pt>
                <c:pt idx="829">
                  <c:v>42115</c:v>
                </c:pt>
                <c:pt idx="830">
                  <c:v>42116</c:v>
                </c:pt>
                <c:pt idx="831">
                  <c:v>42117</c:v>
                </c:pt>
                <c:pt idx="832">
                  <c:v>42118</c:v>
                </c:pt>
                <c:pt idx="833">
                  <c:v>42121</c:v>
                </c:pt>
                <c:pt idx="834">
                  <c:v>42122</c:v>
                </c:pt>
                <c:pt idx="835">
                  <c:v>42123</c:v>
                </c:pt>
                <c:pt idx="836">
                  <c:v>42124</c:v>
                </c:pt>
                <c:pt idx="837">
                  <c:v>42129</c:v>
                </c:pt>
                <c:pt idx="838">
                  <c:v>42130</c:v>
                </c:pt>
                <c:pt idx="839">
                  <c:v>42131</c:v>
                </c:pt>
                <c:pt idx="840">
                  <c:v>42132</c:v>
                </c:pt>
                <c:pt idx="841">
                  <c:v>42136</c:v>
                </c:pt>
                <c:pt idx="842">
                  <c:v>42137</c:v>
                </c:pt>
                <c:pt idx="843">
                  <c:v>42138</c:v>
                </c:pt>
                <c:pt idx="844">
                  <c:v>42139</c:v>
                </c:pt>
                <c:pt idx="845">
                  <c:v>42142</c:v>
                </c:pt>
                <c:pt idx="846">
                  <c:v>42143</c:v>
                </c:pt>
                <c:pt idx="847">
                  <c:v>42144</c:v>
                </c:pt>
                <c:pt idx="848">
                  <c:v>42145</c:v>
                </c:pt>
                <c:pt idx="849">
                  <c:v>42146</c:v>
                </c:pt>
                <c:pt idx="850">
                  <c:v>42149</c:v>
                </c:pt>
                <c:pt idx="851">
                  <c:v>42150</c:v>
                </c:pt>
                <c:pt idx="852">
                  <c:v>42151</c:v>
                </c:pt>
                <c:pt idx="853">
                  <c:v>42152</c:v>
                </c:pt>
                <c:pt idx="854">
                  <c:v>42153</c:v>
                </c:pt>
                <c:pt idx="855">
                  <c:v>42156</c:v>
                </c:pt>
                <c:pt idx="856">
                  <c:v>42157</c:v>
                </c:pt>
                <c:pt idx="857">
                  <c:v>42158</c:v>
                </c:pt>
                <c:pt idx="858">
                  <c:v>42159</c:v>
                </c:pt>
                <c:pt idx="859">
                  <c:v>42160</c:v>
                </c:pt>
                <c:pt idx="860">
                  <c:v>42163</c:v>
                </c:pt>
                <c:pt idx="861">
                  <c:v>42164</c:v>
                </c:pt>
                <c:pt idx="862">
                  <c:v>42165</c:v>
                </c:pt>
                <c:pt idx="863">
                  <c:v>42166</c:v>
                </c:pt>
                <c:pt idx="864">
                  <c:v>42170</c:v>
                </c:pt>
                <c:pt idx="865">
                  <c:v>42171</c:v>
                </c:pt>
                <c:pt idx="866">
                  <c:v>42172</c:v>
                </c:pt>
                <c:pt idx="867">
                  <c:v>42173</c:v>
                </c:pt>
                <c:pt idx="868">
                  <c:v>42174</c:v>
                </c:pt>
                <c:pt idx="869">
                  <c:v>42177</c:v>
                </c:pt>
                <c:pt idx="870">
                  <c:v>42178</c:v>
                </c:pt>
                <c:pt idx="871">
                  <c:v>42179</c:v>
                </c:pt>
                <c:pt idx="872">
                  <c:v>42180</c:v>
                </c:pt>
                <c:pt idx="873">
                  <c:v>42181</c:v>
                </c:pt>
                <c:pt idx="874">
                  <c:v>42184</c:v>
                </c:pt>
                <c:pt idx="875">
                  <c:v>42185</c:v>
                </c:pt>
                <c:pt idx="876">
                  <c:v>42186</c:v>
                </c:pt>
                <c:pt idx="877">
                  <c:v>42187</c:v>
                </c:pt>
                <c:pt idx="878">
                  <c:v>42188</c:v>
                </c:pt>
                <c:pt idx="879">
                  <c:v>42191</c:v>
                </c:pt>
                <c:pt idx="880">
                  <c:v>42192</c:v>
                </c:pt>
                <c:pt idx="881">
                  <c:v>42193</c:v>
                </c:pt>
                <c:pt idx="882">
                  <c:v>42194</c:v>
                </c:pt>
                <c:pt idx="883">
                  <c:v>42195</c:v>
                </c:pt>
                <c:pt idx="884">
                  <c:v>42198</c:v>
                </c:pt>
                <c:pt idx="885">
                  <c:v>42199</c:v>
                </c:pt>
                <c:pt idx="886">
                  <c:v>42200</c:v>
                </c:pt>
                <c:pt idx="887">
                  <c:v>42201</c:v>
                </c:pt>
                <c:pt idx="888">
                  <c:v>42202</c:v>
                </c:pt>
                <c:pt idx="889">
                  <c:v>42205</c:v>
                </c:pt>
                <c:pt idx="890">
                  <c:v>42206</c:v>
                </c:pt>
                <c:pt idx="891">
                  <c:v>42207</c:v>
                </c:pt>
                <c:pt idx="892">
                  <c:v>42208</c:v>
                </c:pt>
                <c:pt idx="893">
                  <c:v>42209</c:v>
                </c:pt>
                <c:pt idx="894">
                  <c:v>42212</c:v>
                </c:pt>
                <c:pt idx="895">
                  <c:v>42213</c:v>
                </c:pt>
                <c:pt idx="896">
                  <c:v>42214</c:v>
                </c:pt>
                <c:pt idx="897">
                  <c:v>42215</c:v>
                </c:pt>
                <c:pt idx="898">
                  <c:v>42216</c:v>
                </c:pt>
                <c:pt idx="899">
                  <c:v>42219</c:v>
                </c:pt>
                <c:pt idx="900">
                  <c:v>42220</c:v>
                </c:pt>
                <c:pt idx="901">
                  <c:v>42221</c:v>
                </c:pt>
                <c:pt idx="902">
                  <c:v>42222</c:v>
                </c:pt>
                <c:pt idx="903">
                  <c:v>42223</c:v>
                </c:pt>
                <c:pt idx="904">
                  <c:v>42226</c:v>
                </c:pt>
                <c:pt idx="905">
                  <c:v>42227</c:v>
                </c:pt>
                <c:pt idx="906">
                  <c:v>42228</c:v>
                </c:pt>
                <c:pt idx="907">
                  <c:v>42229</c:v>
                </c:pt>
                <c:pt idx="908">
                  <c:v>42230</c:v>
                </c:pt>
                <c:pt idx="909">
                  <c:v>42233</c:v>
                </c:pt>
                <c:pt idx="910">
                  <c:v>42234</c:v>
                </c:pt>
                <c:pt idx="911">
                  <c:v>42235</c:v>
                </c:pt>
                <c:pt idx="912">
                  <c:v>42236</c:v>
                </c:pt>
                <c:pt idx="913">
                  <c:v>42237</c:v>
                </c:pt>
                <c:pt idx="914">
                  <c:v>42240</c:v>
                </c:pt>
                <c:pt idx="915">
                  <c:v>42241</c:v>
                </c:pt>
                <c:pt idx="916">
                  <c:v>42242</c:v>
                </c:pt>
                <c:pt idx="917">
                  <c:v>42243</c:v>
                </c:pt>
                <c:pt idx="918">
                  <c:v>42244</c:v>
                </c:pt>
                <c:pt idx="919">
                  <c:v>42247</c:v>
                </c:pt>
                <c:pt idx="920">
                  <c:v>42248</c:v>
                </c:pt>
                <c:pt idx="921">
                  <c:v>42249</c:v>
                </c:pt>
                <c:pt idx="922">
                  <c:v>42250</c:v>
                </c:pt>
                <c:pt idx="923">
                  <c:v>42251</c:v>
                </c:pt>
                <c:pt idx="924">
                  <c:v>42254</c:v>
                </c:pt>
                <c:pt idx="925">
                  <c:v>42255</c:v>
                </c:pt>
                <c:pt idx="926">
                  <c:v>42256</c:v>
                </c:pt>
                <c:pt idx="927">
                  <c:v>42257</c:v>
                </c:pt>
                <c:pt idx="928">
                  <c:v>42258</c:v>
                </c:pt>
                <c:pt idx="929">
                  <c:v>42261</c:v>
                </c:pt>
                <c:pt idx="930">
                  <c:v>42262</c:v>
                </c:pt>
                <c:pt idx="931">
                  <c:v>42263</c:v>
                </c:pt>
                <c:pt idx="932">
                  <c:v>42264</c:v>
                </c:pt>
                <c:pt idx="933">
                  <c:v>42265</c:v>
                </c:pt>
                <c:pt idx="934">
                  <c:v>42268</c:v>
                </c:pt>
                <c:pt idx="935">
                  <c:v>42269</c:v>
                </c:pt>
                <c:pt idx="936">
                  <c:v>42270</c:v>
                </c:pt>
                <c:pt idx="937">
                  <c:v>42271</c:v>
                </c:pt>
                <c:pt idx="938">
                  <c:v>42272</c:v>
                </c:pt>
                <c:pt idx="939">
                  <c:v>42275</c:v>
                </c:pt>
                <c:pt idx="940">
                  <c:v>42276</c:v>
                </c:pt>
                <c:pt idx="941">
                  <c:v>42277</c:v>
                </c:pt>
                <c:pt idx="942">
                  <c:v>42278</c:v>
                </c:pt>
                <c:pt idx="943">
                  <c:v>42279</c:v>
                </c:pt>
                <c:pt idx="944">
                  <c:v>42282</c:v>
                </c:pt>
                <c:pt idx="945">
                  <c:v>42283</c:v>
                </c:pt>
                <c:pt idx="946">
                  <c:v>42284</c:v>
                </c:pt>
                <c:pt idx="947">
                  <c:v>42285</c:v>
                </c:pt>
                <c:pt idx="948">
                  <c:v>42286</c:v>
                </c:pt>
                <c:pt idx="949">
                  <c:v>42289</c:v>
                </c:pt>
                <c:pt idx="950">
                  <c:v>42290</c:v>
                </c:pt>
                <c:pt idx="951">
                  <c:v>42291</c:v>
                </c:pt>
                <c:pt idx="952">
                  <c:v>42292</c:v>
                </c:pt>
                <c:pt idx="953">
                  <c:v>42293</c:v>
                </c:pt>
                <c:pt idx="954">
                  <c:v>42296</c:v>
                </c:pt>
                <c:pt idx="955">
                  <c:v>42297</c:v>
                </c:pt>
                <c:pt idx="956">
                  <c:v>42298</c:v>
                </c:pt>
                <c:pt idx="957">
                  <c:v>42299</c:v>
                </c:pt>
                <c:pt idx="958">
                  <c:v>42300</c:v>
                </c:pt>
                <c:pt idx="959">
                  <c:v>42303</c:v>
                </c:pt>
                <c:pt idx="960">
                  <c:v>42304</c:v>
                </c:pt>
                <c:pt idx="961">
                  <c:v>42305</c:v>
                </c:pt>
                <c:pt idx="962">
                  <c:v>42306</c:v>
                </c:pt>
                <c:pt idx="963">
                  <c:v>42307</c:v>
                </c:pt>
                <c:pt idx="964">
                  <c:v>42310</c:v>
                </c:pt>
                <c:pt idx="965">
                  <c:v>42311</c:v>
                </c:pt>
                <c:pt idx="966">
                  <c:v>42313</c:v>
                </c:pt>
                <c:pt idx="967">
                  <c:v>42314</c:v>
                </c:pt>
                <c:pt idx="968">
                  <c:v>42317</c:v>
                </c:pt>
                <c:pt idx="969">
                  <c:v>42318</c:v>
                </c:pt>
                <c:pt idx="970">
                  <c:v>42319</c:v>
                </c:pt>
                <c:pt idx="971">
                  <c:v>42320</c:v>
                </c:pt>
                <c:pt idx="972">
                  <c:v>42321</c:v>
                </c:pt>
                <c:pt idx="973">
                  <c:v>42324</c:v>
                </c:pt>
                <c:pt idx="974">
                  <c:v>42325</c:v>
                </c:pt>
                <c:pt idx="975">
                  <c:v>42326</c:v>
                </c:pt>
                <c:pt idx="976">
                  <c:v>42327</c:v>
                </c:pt>
                <c:pt idx="977">
                  <c:v>42328</c:v>
                </c:pt>
                <c:pt idx="978">
                  <c:v>42331</c:v>
                </c:pt>
                <c:pt idx="979">
                  <c:v>42332</c:v>
                </c:pt>
                <c:pt idx="980">
                  <c:v>42333</c:v>
                </c:pt>
                <c:pt idx="981">
                  <c:v>42334</c:v>
                </c:pt>
                <c:pt idx="982">
                  <c:v>42335</c:v>
                </c:pt>
                <c:pt idx="983">
                  <c:v>42338</c:v>
                </c:pt>
                <c:pt idx="984">
                  <c:v>42339</c:v>
                </c:pt>
                <c:pt idx="985">
                  <c:v>42340</c:v>
                </c:pt>
                <c:pt idx="986">
                  <c:v>42341</c:v>
                </c:pt>
                <c:pt idx="987">
                  <c:v>42342</c:v>
                </c:pt>
                <c:pt idx="988">
                  <c:v>42345</c:v>
                </c:pt>
                <c:pt idx="989">
                  <c:v>42346</c:v>
                </c:pt>
                <c:pt idx="990">
                  <c:v>42347</c:v>
                </c:pt>
                <c:pt idx="991">
                  <c:v>42348</c:v>
                </c:pt>
                <c:pt idx="992">
                  <c:v>42349</c:v>
                </c:pt>
                <c:pt idx="993">
                  <c:v>42352</c:v>
                </c:pt>
                <c:pt idx="994">
                  <c:v>42353</c:v>
                </c:pt>
                <c:pt idx="995">
                  <c:v>42354</c:v>
                </c:pt>
                <c:pt idx="996">
                  <c:v>42355</c:v>
                </c:pt>
                <c:pt idx="997">
                  <c:v>42356</c:v>
                </c:pt>
                <c:pt idx="998">
                  <c:v>42359</c:v>
                </c:pt>
                <c:pt idx="999">
                  <c:v>42360</c:v>
                </c:pt>
                <c:pt idx="1000">
                  <c:v>42361</c:v>
                </c:pt>
                <c:pt idx="1001">
                  <c:v>42362</c:v>
                </c:pt>
                <c:pt idx="1002">
                  <c:v>42363</c:v>
                </c:pt>
                <c:pt idx="1003">
                  <c:v>42366</c:v>
                </c:pt>
                <c:pt idx="1004">
                  <c:v>42367</c:v>
                </c:pt>
                <c:pt idx="1005">
                  <c:v>42368</c:v>
                </c:pt>
                <c:pt idx="1006">
                  <c:v>42373</c:v>
                </c:pt>
                <c:pt idx="1007">
                  <c:v>42374</c:v>
                </c:pt>
                <c:pt idx="1008">
                  <c:v>42375</c:v>
                </c:pt>
                <c:pt idx="1009">
                  <c:v>42380</c:v>
                </c:pt>
                <c:pt idx="1010">
                  <c:v>42381</c:v>
                </c:pt>
                <c:pt idx="1011">
                  <c:v>42382</c:v>
                </c:pt>
                <c:pt idx="1012">
                  <c:v>42383</c:v>
                </c:pt>
                <c:pt idx="1013">
                  <c:v>42384</c:v>
                </c:pt>
                <c:pt idx="1014">
                  <c:v>42387</c:v>
                </c:pt>
                <c:pt idx="1015">
                  <c:v>42388</c:v>
                </c:pt>
                <c:pt idx="1016">
                  <c:v>42389</c:v>
                </c:pt>
                <c:pt idx="1017">
                  <c:v>42390</c:v>
                </c:pt>
                <c:pt idx="1018">
                  <c:v>42391</c:v>
                </c:pt>
                <c:pt idx="1019">
                  <c:v>42394</c:v>
                </c:pt>
                <c:pt idx="1020">
                  <c:v>42395</c:v>
                </c:pt>
                <c:pt idx="1021">
                  <c:v>42396</c:v>
                </c:pt>
                <c:pt idx="1022">
                  <c:v>42397</c:v>
                </c:pt>
                <c:pt idx="1023">
                  <c:v>42398</c:v>
                </c:pt>
                <c:pt idx="1024">
                  <c:v>42401</c:v>
                </c:pt>
                <c:pt idx="1025">
                  <c:v>42402</c:v>
                </c:pt>
                <c:pt idx="1026">
                  <c:v>42403</c:v>
                </c:pt>
                <c:pt idx="1027">
                  <c:v>42404</c:v>
                </c:pt>
                <c:pt idx="1028">
                  <c:v>42405</c:v>
                </c:pt>
                <c:pt idx="1029">
                  <c:v>42408</c:v>
                </c:pt>
                <c:pt idx="1030">
                  <c:v>42409</c:v>
                </c:pt>
                <c:pt idx="1031">
                  <c:v>42410</c:v>
                </c:pt>
                <c:pt idx="1032">
                  <c:v>42411</c:v>
                </c:pt>
                <c:pt idx="1033">
                  <c:v>42412</c:v>
                </c:pt>
                <c:pt idx="1034">
                  <c:v>42415</c:v>
                </c:pt>
                <c:pt idx="1035">
                  <c:v>42416</c:v>
                </c:pt>
                <c:pt idx="1036">
                  <c:v>42417</c:v>
                </c:pt>
                <c:pt idx="1037">
                  <c:v>42418</c:v>
                </c:pt>
                <c:pt idx="1038">
                  <c:v>42419</c:v>
                </c:pt>
                <c:pt idx="1039">
                  <c:v>42420</c:v>
                </c:pt>
                <c:pt idx="1040">
                  <c:v>42422</c:v>
                </c:pt>
                <c:pt idx="1041">
                  <c:v>42424</c:v>
                </c:pt>
                <c:pt idx="1042">
                  <c:v>42425</c:v>
                </c:pt>
                <c:pt idx="1043">
                  <c:v>42426</c:v>
                </c:pt>
                <c:pt idx="1044">
                  <c:v>42429</c:v>
                </c:pt>
                <c:pt idx="1045">
                  <c:v>42430</c:v>
                </c:pt>
                <c:pt idx="1046">
                  <c:v>42431</c:v>
                </c:pt>
                <c:pt idx="1047">
                  <c:v>42432</c:v>
                </c:pt>
                <c:pt idx="1048">
                  <c:v>42433</c:v>
                </c:pt>
                <c:pt idx="1049">
                  <c:v>42436</c:v>
                </c:pt>
                <c:pt idx="1050">
                  <c:v>42438</c:v>
                </c:pt>
                <c:pt idx="1051">
                  <c:v>42439</c:v>
                </c:pt>
                <c:pt idx="1052">
                  <c:v>42440</c:v>
                </c:pt>
                <c:pt idx="1053">
                  <c:v>42443</c:v>
                </c:pt>
                <c:pt idx="1054">
                  <c:v>42444</c:v>
                </c:pt>
                <c:pt idx="1055">
                  <c:v>42445</c:v>
                </c:pt>
                <c:pt idx="1056">
                  <c:v>42446</c:v>
                </c:pt>
                <c:pt idx="1057">
                  <c:v>42447</c:v>
                </c:pt>
                <c:pt idx="1058">
                  <c:v>42450</c:v>
                </c:pt>
                <c:pt idx="1059">
                  <c:v>42451</c:v>
                </c:pt>
                <c:pt idx="1060">
                  <c:v>42452</c:v>
                </c:pt>
                <c:pt idx="1061">
                  <c:v>42453</c:v>
                </c:pt>
                <c:pt idx="1062">
                  <c:v>42454</c:v>
                </c:pt>
                <c:pt idx="1063">
                  <c:v>42457</c:v>
                </c:pt>
                <c:pt idx="1064">
                  <c:v>42458</c:v>
                </c:pt>
                <c:pt idx="1065">
                  <c:v>42459</c:v>
                </c:pt>
                <c:pt idx="1066">
                  <c:v>42460</c:v>
                </c:pt>
                <c:pt idx="1067">
                  <c:v>42461</c:v>
                </c:pt>
                <c:pt idx="1068">
                  <c:v>42464</c:v>
                </c:pt>
                <c:pt idx="1069">
                  <c:v>42465</c:v>
                </c:pt>
                <c:pt idx="1070">
                  <c:v>42466</c:v>
                </c:pt>
                <c:pt idx="1071">
                  <c:v>42467</c:v>
                </c:pt>
                <c:pt idx="1072">
                  <c:v>42468</c:v>
                </c:pt>
                <c:pt idx="1073">
                  <c:v>42471</c:v>
                </c:pt>
                <c:pt idx="1074">
                  <c:v>42472</c:v>
                </c:pt>
                <c:pt idx="1075">
                  <c:v>42473</c:v>
                </c:pt>
                <c:pt idx="1076">
                  <c:v>42474</c:v>
                </c:pt>
                <c:pt idx="1077">
                  <c:v>42475</c:v>
                </c:pt>
                <c:pt idx="1078">
                  <c:v>42478</c:v>
                </c:pt>
                <c:pt idx="1079">
                  <c:v>42479</c:v>
                </c:pt>
                <c:pt idx="1080">
                  <c:v>42480</c:v>
                </c:pt>
                <c:pt idx="1081">
                  <c:v>42481</c:v>
                </c:pt>
                <c:pt idx="1082">
                  <c:v>42482</c:v>
                </c:pt>
                <c:pt idx="1083">
                  <c:v>42485</c:v>
                </c:pt>
                <c:pt idx="1084">
                  <c:v>42486</c:v>
                </c:pt>
                <c:pt idx="1085">
                  <c:v>42487</c:v>
                </c:pt>
                <c:pt idx="1086">
                  <c:v>42488</c:v>
                </c:pt>
                <c:pt idx="1087">
                  <c:v>42489</c:v>
                </c:pt>
                <c:pt idx="1088">
                  <c:v>42494</c:v>
                </c:pt>
                <c:pt idx="1089">
                  <c:v>42495</c:v>
                </c:pt>
                <c:pt idx="1090">
                  <c:v>42496</c:v>
                </c:pt>
                <c:pt idx="1091">
                  <c:v>42500</c:v>
                </c:pt>
                <c:pt idx="1092">
                  <c:v>42501</c:v>
                </c:pt>
                <c:pt idx="1093">
                  <c:v>42502</c:v>
                </c:pt>
                <c:pt idx="1094">
                  <c:v>42503</c:v>
                </c:pt>
                <c:pt idx="1095">
                  <c:v>42506</c:v>
                </c:pt>
                <c:pt idx="1096">
                  <c:v>42507</c:v>
                </c:pt>
                <c:pt idx="1097">
                  <c:v>42508</c:v>
                </c:pt>
                <c:pt idx="1098">
                  <c:v>42509</c:v>
                </c:pt>
                <c:pt idx="1099">
                  <c:v>42510</c:v>
                </c:pt>
                <c:pt idx="1100">
                  <c:v>42513</c:v>
                </c:pt>
                <c:pt idx="1101">
                  <c:v>42514</c:v>
                </c:pt>
                <c:pt idx="1102">
                  <c:v>42515</c:v>
                </c:pt>
                <c:pt idx="1103">
                  <c:v>42516</c:v>
                </c:pt>
                <c:pt idx="1104">
                  <c:v>42517</c:v>
                </c:pt>
                <c:pt idx="1105">
                  <c:v>42520</c:v>
                </c:pt>
                <c:pt idx="1106">
                  <c:v>42521</c:v>
                </c:pt>
                <c:pt idx="1107">
                  <c:v>42522</c:v>
                </c:pt>
                <c:pt idx="1108">
                  <c:v>42523</c:v>
                </c:pt>
                <c:pt idx="1109">
                  <c:v>42524</c:v>
                </c:pt>
                <c:pt idx="1110">
                  <c:v>42527</c:v>
                </c:pt>
                <c:pt idx="1111">
                  <c:v>42528</c:v>
                </c:pt>
                <c:pt idx="1112">
                  <c:v>42529</c:v>
                </c:pt>
                <c:pt idx="1113">
                  <c:v>42530</c:v>
                </c:pt>
                <c:pt idx="1114">
                  <c:v>42531</c:v>
                </c:pt>
                <c:pt idx="1115">
                  <c:v>42535</c:v>
                </c:pt>
                <c:pt idx="1116">
                  <c:v>42536</c:v>
                </c:pt>
                <c:pt idx="1117">
                  <c:v>42537</c:v>
                </c:pt>
                <c:pt idx="1118">
                  <c:v>42538</c:v>
                </c:pt>
                <c:pt idx="1119">
                  <c:v>42541</c:v>
                </c:pt>
                <c:pt idx="1120">
                  <c:v>42542</c:v>
                </c:pt>
                <c:pt idx="1121">
                  <c:v>42543</c:v>
                </c:pt>
                <c:pt idx="1122">
                  <c:v>42544</c:v>
                </c:pt>
                <c:pt idx="1123">
                  <c:v>42545</c:v>
                </c:pt>
                <c:pt idx="1124">
                  <c:v>42548</c:v>
                </c:pt>
                <c:pt idx="1125">
                  <c:v>42549</c:v>
                </c:pt>
                <c:pt idx="1126">
                  <c:v>42550</c:v>
                </c:pt>
                <c:pt idx="1127">
                  <c:v>42551</c:v>
                </c:pt>
                <c:pt idx="1128">
                  <c:v>42552</c:v>
                </c:pt>
                <c:pt idx="1129">
                  <c:v>42555</c:v>
                </c:pt>
                <c:pt idx="1130">
                  <c:v>42556</c:v>
                </c:pt>
                <c:pt idx="1131">
                  <c:v>42557</c:v>
                </c:pt>
                <c:pt idx="1132">
                  <c:v>42558</c:v>
                </c:pt>
                <c:pt idx="1133">
                  <c:v>42559</c:v>
                </c:pt>
                <c:pt idx="1134">
                  <c:v>42562</c:v>
                </c:pt>
                <c:pt idx="1135">
                  <c:v>42563</c:v>
                </c:pt>
                <c:pt idx="1136">
                  <c:v>42564</c:v>
                </c:pt>
                <c:pt idx="1137">
                  <c:v>42565</c:v>
                </c:pt>
                <c:pt idx="1138">
                  <c:v>42566</c:v>
                </c:pt>
                <c:pt idx="1139">
                  <c:v>42569</c:v>
                </c:pt>
                <c:pt idx="1140">
                  <c:v>42570</c:v>
                </c:pt>
                <c:pt idx="1141">
                  <c:v>42571</c:v>
                </c:pt>
                <c:pt idx="1142">
                  <c:v>42572</c:v>
                </c:pt>
                <c:pt idx="1143">
                  <c:v>42573</c:v>
                </c:pt>
                <c:pt idx="1144">
                  <c:v>42576</c:v>
                </c:pt>
                <c:pt idx="1145">
                  <c:v>42577</c:v>
                </c:pt>
                <c:pt idx="1146">
                  <c:v>42578</c:v>
                </c:pt>
                <c:pt idx="1147">
                  <c:v>42579</c:v>
                </c:pt>
                <c:pt idx="1148">
                  <c:v>42580</c:v>
                </c:pt>
                <c:pt idx="1149">
                  <c:v>42583</c:v>
                </c:pt>
                <c:pt idx="1150">
                  <c:v>42584</c:v>
                </c:pt>
                <c:pt idx="1151">
                  <c:v>42585</c:v>
                </c:pt>
                <c:pt idx="1152">
                  <c:v>42586</c:v>
                </c:pt>
                <c:pt idx="1153">
                  <c:v>42587</c:v>
                </c:pt>
                <c:pt idx="1154">
                  <c:v>42590</c:v>
                </c:pt>
                <c:pt idx="1155">
                  <c:v>42591</c:v>
                </c:pt>
                <c:pt idx="1156">
                  <c:v>42592</c:v>
                </c:pt>
                <c:pt idx="1157">
                  <c:v>42593</c:v>
                </c:pt>
                <c:pt idx="1158">
                  <c:v>42594</c:v>
                </c:pt>
                <c:pt idx="1159">
                  <c:v>42597</c:v>
                </c:pt>
                <c:pt idx="1160">
                  <c:v>42598</c:v>
                </c:pt>
                <c:pt idx="1161">
                  <c:v>42599</c:v>
                </c:pt>
                <c:pt idx="1162">
                  <c:v>42600</c:v>
                </c:pt>
                <c:pt idx="1163">
                  <c:v>42601</c:v>
                </c:pt>
                <c:pt idx="1164">
                  <c:v>42604</c:v>
                </c:pt>
                <c:pt idx="1165">
                  <c:v>42605</c:v>
                </c:pt>
                <c:pt idx="1166">
                  <c:v>42606</c:v>
                </c:pt>
                <c:pt idx="1167">
                  <c:v>42607</c:v>
                </c:pt>
                <c:pt idx="1168">
                  <c:v>42608</c:v>
                </c:pt>
                <c:pt idx="1169">
                  <c:v>42611</c:v>
                </c:pt>
                <c:pt idx="1170">
                  <c:v>42612</c:v>
                </c:pt>
                <c:pt idx="1171">
                  <c:v>42613</c:v>
                </c:pt>
                <c:pt idx="1172">
                  <c:v>42614</c:v>
                </c:pt>
                <c:pt idx="1173">
                  <c:v>42615</c:v>
                </c:pt>
                <c:pt idx="1174">
                  <c:v>42618</c:v>
                </c:pt>
                <c:pt idx="1175">
                  <c:v>42619</c:v>
                </c:pt>
                <c:pt idx="1176">
                  <c:v>42620</c:v>
                </c:pt>
                <c:pt idx="1177">
                  <c:v>42621</c:v>
                </c:pt>
                <c:pt idx="1178">
                  <c:v>42622</c:v>
                </c:pt>
                <c:pt idx="1179">
                  <c:v>42625</c:v>
                </c:pt>
                <c:pt idx="1180">
                  <c:v>42626</c:v>
                </c:pt>
                <c:pt idx="1181">
                  <c:v>42627</c:v>
                </c:pt>
                <c:pt idx="1182">
                  <c:v>42628</c:v>
                </c:pt>
                <c:pt idx="1183">
                  <c:v>42629</c:v>
                </c:pt>
                <c:pt idx="1184">
                  <c:v>42632</c:v>
                </c:pt>
                <c:pt idx="1185">
                  <c:v>42633</c:v>
                </c:pt>
                <c:pt idx="1186">
                  <c:v>42634</c:v>
                </c:pt>
                <c:pt idx="1187">
                  <c:v>42635</c:v>
                </c:pt>
                <c:pt idx="1188">
                  <c:v>42636</c:v>
                </c:pt>
                <c:pt idx="1189">
                  <c:v>42639</c:v>
                </c:pt>
                <c:pt idx="1190">
                  <c:v>42640</c:v>
                </c:pt>
                <c:pt idx="1191">
                  <c:v>42641</c:v>
                </c:pt>
                <c:pt idx="1192">
                  <c:v>42642</c:v>
                </c:pt>
                <c:pt idx="1193">
                  <c:v>42643</c:v>
                </c:pt>
                <c:pt idx="1194">
                  <c:v>42646</c:v>
                </c:pt>
                <c:pt idx="1195">
                  <c:v>42647</c:v>
                </c:pt>
                <c:pt idx="1196">
                  <c:v>42648</c:v>
                </c:pt>
                <c:pt idx="1197">
                  <c:v>42649</c:v>
                </c:pt>
                <c:pt idx="1198">
                  <c:v>42650</c:v>
                </c:pt>
                <c:pt idx="1199">
                  <c:v>42653</c:v>
                </c:pt>
                <c:pt idx="1200">
                  <c:v>42654</c:v>
                </c:pt>
                <c:pt idx="1201">
                  <c:v>42655</c:v>
                </c:pt>
                <c:pt idx="1202">
                  <c:v>42656</c:v>
                </c:pt>
                <c:pt idx="1203">
                  <c:v>42657</c:v>
                </c:pt>
                <c:pt idx="1204">
                  <c:v>42660</c:v>
                </c:pt>
                <c:pt idx="1205">
                  <c:v>42661</c:v>
                </c:pt>
                <c:pt idx="1206">
                  <c:v>42662</c:v>
                </c:pt>
                <c:pt idx="1207">
                  <c:v>42663</c:v>
                </c:pt>
                <c:pt idx="1208">
                  <c:v>42664</c:v>
                </c:pt>
                <c:pt idx="1209">
                  <c:v>42667</c:v>
                </c:pt>
                <c:pt idx="1210">
                  <c:v>42668</c:v>
                </c:pt>
                <c:pt idx="1211">
                  <c:v>42669</c:v>
                </c:pt>
                <c:pt idx="1212">
                  <c:v>42670</c:v>
                </c:pt>
                <c:pt idx="1213">
                  <c:v>42671</c:v>
                </c:pt>
                <c:pt idx="1214">
                  <c:v>42674</c:v>
                </c:pt>
                <c:pt idx="1215">
                  <c:v>42675</c:v>
                </c:pt>
                <c:pt idx="1216">
                  <c:v>42676</c:v>
                </c:pt>
                <c:pt idx="1217">
                  <c:v>42677</c:v>
                </c:pt>
                <c:pt idx="1218">
                  <c:v>42681</c:v>
                </c:pt>
                <c:pt idx="1219">
                  <c:v>42682</c:v>
                </c:pt>
                <c:pt idx="1220">
                  <c:v>42683</c:v>
                </c:pt>
                <c:pt idx="1221">
                  <c:v>42684</c:v>
                </c:pt>
                <c:pt idx="1222">
                  <c:v>42685</c:v>
                </c:pt>
                <c:pt idx="1223">
                  <c:v>42688</c:v>
                </c:pt>
                <c:pt idx="1224">
                  <c:v>42689</c:v>
                </c:pt>
                <c:pt idx="1225">
                  <c:v>42690</c:v>
                </c:pt>
                <c:pt idx="1226">
                  <c:v>42691</c:v>
                </c:pt>
                <c:pt idx="1227">
                  <c:v>42692</c:v>
                </c:pt>
                <c:pt idx="1228">
                  <c:v>42695</c:v>
                </c:pt>
                <c:pt idx="1229">
                  <c:v>42696</c:v>
                </c:pt>
                <c:pt idx="1230">
                  <c:v>42697</c:v>
                </c:pt>
                <c:pt idx="1231">
                  <c:v>42698</c:v>
                </c:pt>
                <c:pt idx="1232">
                  <c:v>42699</c:v>
                </c:pt>
                <c:pt idx="1233">
                  <c:v>42702</c:v>
                </c:pt>
                <c:pt idx="1234">
                  <c:v>42703</c:v>
                </c:pt>
                <c:pt idx="1235">
                  <c:v>42704</c:v>
                </c:pt>
                <c:pt idx="1236">
                  <c:v>42705</c:v>
                </c:pt>
                <c:pt idx="1237">
                  <c:v>42706</c:v>
                </c:pt>
                <c:pt idx="1238">
                  <c:v>42709</c:v>
                </c:pt>
                <c:pt idx="1239">
                  <c:v>42710</c:v>
                </c:pt>
                <c:pt idx="1240">
                  <c:v>42711</c:v>
                </c:pt>
                <c:pt idx="1241">
                  <c:v>42712</c:v>
                </c:pt>
                <c:pt idx="1242">
                  <c:v>42713</c:v>
                </c:pt>
                <c:pt idx="1243">
                  <c:v>42716</c:v>
                </c:pt>
                <c:pt idx="1244">
                  <c:v>42717</c:v>
                </c:pt>
                <c:pt idx="1245">
                  <c:v>42718</c:v>
                </c:pt>
                <c:pt idx="1246">
                  <c:v>42719</c:v>
                </c:pt>
                <c:pt idx="1247">
                  <c:v>42720</c:v>
                </c:pt>
                <c:pt idx="1248">
                  <c:v>42723</c:v>
                </c:pt>
                <c:pt idx="1249">
                  <c:v>42724</c:v>
                </c:pt>
                <c:pt idx="1250">
                  <c:v>42725</c:v>
                </c:pt>
                <c:pt idx="1251">
                  <c:v>42726</c:v>
                </c:pt>
                <c:pt idx="1252">
                  <c:v>42727</c:v>
                </c:pt>
                <c:pt idx="1253">
                  <c:v>42730</c:v>
                </c:pt>
                <c:pt idx="1254">
                  <c:v>42731</c:v>
                </c:pt>
                <c:pt idx="1255">
                  <c:v>42732</c:v>
                </c:pt>
                <c:pt idx="1256">
                  <c:v>42733</c:v>
                </c:pt>
                <c:pt idx="1257">
                  <c:v>42734</c:v>
                </c:pt>
                <c:pt idx="1258">
                  <c:v>42738</c:v>
                </c:pt>
                <c:pt idx="1259">
                  <c:v>42739</c:v>
                </c:pt>
                <c:pt idx="1260">
                  <c:v>42740</c:v>
                </c:pt>
                <c:pt idx="1261">
                  <c:v>42741</c:v>
                </c:pt>
                <c:pt idx="1262">
                  <c:v>42744</c:v>
                </c:pt>
                <c:pt idx="1263">
                  <c:v>42745</c:v>
                </c:pt>
                <c:pt idx="1264">
                  <c:v>42746</c:v>
                </c:pt>
                <c:pt idx="1265">
                  <c:v>42747</c:v>
                </c:pt>
                <c:pt idx="1266">
                  <c:v>42748</c:v>
                </c:pt>
                <c:pt idx="1267">
                  <c:v>42751</c:v>
                </c:pt>
                <c:pt idx="1268">
                  <c:v>42752</c:v>
                </c:pt>
                <c:pt idx="1269">
                  <c:v>42753</c:v>
                </c:pt>
                <c:pt idx="1270">
                  <c:v>42754</c:v>
                </c:pt>
                <c:pt idx="1271">
                  <c:v>42755</c:v>
                </c:pt>
                <c:pt idx="1272">
                  <c:v>42758</c:v>
                </c:pt>
                <c:pt idx="1273">
                  <c:v>42759</c:v>
                </c:pt>
                <c:pt idx="1274">
                  <c:v>42760</c:v>
                </c:pt>
                <c:pt idx="1275">
                  <c:v>42761</c:v>
                </c:pt>
                <c:pt idx="1276">
                  <c:v>42762</c:v>
                </c:pt>
                <c:pt idx="1277">
                  <c:v>42765</c:v>
                </c:pt>
                <c:pt idx="1278">
                  <c:v>42766</c:v>
                </c:pt>
                <c:pt idx="1279">
                  <c:v>42767</c:v>
                </c:pt>
                <c:pt idx="1280">
                  <c:v>42768</c:v>
                </c:pt>
                <c:pt idx="1281">
                  <c:v>42769</c:v>
                </c:pt>
                <c:pt idx="1282">
                  <c:v>42772</c:v>
                </c:pt>
                <c:pt idx="1283">
                  <c:v>42773</c:v>
                </c:pt>
                <c:pt idx="1284">
                  <c:v>42774</c:v>
                </c:pt>
                <c:pt idx="1285">
                  <c:v>42775</c:v>
                </c:pt>
                <c:pt idx="1286">
                  <c:v>42776</c:v>
                </c:pt>
                <c:pt idx="1287">
                  <c:v>42779</c:v>
                </c:pt>
                <c:pt idx="1288">
                  <c:v>42780</c:v>
                </c:pt>
                <c:pt idx="1289">
                  <c:v>42781</c:v>
                </c:pt>
                <c:pt idx="1290">
                  <c:v>42782</c:v>
                </c:pt>
                <c:pt idx="1291">
                  <c:v>42783</c:v>
                </c:pt>
                <c:pt idx="1292">
                  <c:v>42786</c:v>
                </c:pt>
                <c:pt idx="1293">
                  <c:v>42787</c:v>
                </c:pt>
                <c:pt idx="1294">
                  <c:v>42788</c:v>
                </c:pt>
                <c:pt idx="1295">
                  <c:v>42790</c:v>
                </c:pt>
                <c:pt idx="1296">
                  <c:v>42793</c:v>
                </c:pt>
                <c:pt idx="1297">
                  <c:v>42794</c:v>
                </c:pt>
                <c:pt idx="1298">
                  <c:v>42795</c:v>
                </c:pt>
                <c:pt idx="1299">
                  <c:v>42796</c:v>
                </c:pt>
                <c:pt idx="1300">
                  <c:v>42797</c:v>
                </c:pt>
                <c:pt idx="1301">
                  <c:v>42800</c:v>
                </c:pt>
                <c:pt idx="1302">
                  <c:v>42801</c:v>
                </c:pt>
                <c:pt idx="1303">
                  <c:v>42803</c:v>
                </c:pt>
                <c:pt idx="1304">
                  <c:v>42804</c:v>
                </c:pt>
                <c:pt idx="1305">
                  <c:v>42807</c:v>
                </c:pt>
                <c:pt idx="1306">
                  <c:v>42808</c:v>
                </c:pt>
                <c:pt idx="1307">
                  <c:v>42809</c:v>
                </c:pt>
                <c:pt idx="1308">
                  <c:v>42810</c:v>
                </c:pt>
                <c:pt idx="1309">
                  <c:v>42811</c:v>
                </c:pt>
                <c:pt idx="1310">
                  <c:v>42814</c:v>
                </c:pt>
                <c:pt idx="1311">
                  <c:v>42815</c:v>
                </c:pt>
                <c:pt idx="1312">
                  <c:v>42816</c:v>
                </c:pt>
                <c:pt idx="1313">
                  <c:v>42817</c:v>
                </c:pt>
                <c:pt idx="1314">
                  <c:v>42818</c:v>
                </c:pt>
                <c:pt idx="1315">
                  <c:v>42821</c:v>
                </c:pt>
                <c:pt idx="1316">
                  <c:v>42822</c:v>
                </c:pt>
                <c:pt idx="1317">
                  <c:v>42823</c:v>
                </c:pt>
                <c:pt idx="1318">
                  <c:v>42824</c:v>
                </c:pt>
                <c:pt idx="1319">
                  <c:v>42825</c:v>
                </c:pt>
                <c:pt idx="1320">
                  <c:v>42828</c:v>
                </c:pt>
                <c:pt idx="1321">
                  <c:v>42829</c:v>
                </c:pt>
                <c:pt idx="1322">
                  <c:v>42830</c:v>
                </c:pt>
                <c:pt idx="1323">
                  <c:v>42831</c:v>
                </c:pt>
                <c:pt idx="1324">
                  <c:v>42832</c:v>
                </c:pt>
                <c:pt idx="1325">
                  <c:v>42835</c:v>
                </c:pt>
                <c:pt idx="1326">
                  <c:v>42836</c:v>
                </c:pt>
                <c:pt idx="1327">
                  <c:v>42837</c:v>
                </c:pt>
                <c:pt idx="1328">
                  <c:v>42838</c:v>
                </c:pt>
                <c:pt idx="1329">
                  <c:v>42839</c:v>
                </c:pt>
                <c:pt idx="1330">
                  <c:v>42842</c:v>
                </c:pt>
                <c:pt idx="1331">
                  <c:v>42843</c:v>
                </c:pt>
                <c:pt idx="1332">
                  <c:v>42844</c:v>
                </c:pt>
                <c:pt idx="1333">
                  <c:v>42845</c:v>
                </c:pt>
                <c:pt idx="1334">
                  <c:v>42846</c:v>
                </c:pt>
                <c:pt idx="1335">
                  <c:v>42849</c:v>
                </c:pt>
                <c:pt idx="1336">
                  <c:v>42850</c:v>
                </c:pt>
                <c:pt idx="1337">
                  <c:v>42851</c:v>
                </c:pt>
                <c:pt idx="1338">
                  <c:v>42852</c:v>
                </c:pt>
                <c:pt idx="1339">
                  <c:v>42853</c:v>
                </c:pt>
                <c:pt idx="1340">
                  <c:v>42857</c:v>
                </c:pt>
                <c:pt idx="1341">
                  <c:v>42858</c:v>
                </c:pt>
                <c:pt idx="1342">
                  <c:v>42859</c:v>
                </c:pt>
                <c:pt idx="1343">
                  <c:v>42860</c:v>
                </c:pt>
                <c:pt idx="1344">
                  <c:v>42865</c:v>
                </c:pt>
                <c:pt idx="1345">
                  <c:v>42866</c:v>
                </c:pt>
                <c:pt idx="1346">
                  <c:v>42867</c:v>
                </c:pt>
                <c:pt idx="1347">
                  <c:v>42870</c:v>
                </c:pt>
                <c:pt idx="1348">
                  <c:v>42871</c:v>
                </c:pt>
                <c:pt idx="1349">
                  <c:v>42872</c:v>
                </c:pt>
                <c:pt idx="1350">
                  <c:v>42873</c:v>
                </c:pt>
                <c:pt idx="1351">
                  <c:v>42874</c:v>
                </c:pt>
                <c:pt idx="1352">
                  <c:v>42877</c:v>
                </c:pt>
                <c:pt idx="1353">
                  <c:v>42878</c:v>
                </c:pt>
                <c:pt idx="1354">
                  <c:v>42879</c:v>
                </c:pt>
                <c:pt idx="1355">
                  <c:v>42880</c:v>
                </c:pt>
                <c:pt idx="1356">
                  <c:v>42881</c:v>
                </c:pt>
                <c:pt idx="1357">
                  <c:v>42884</c:v>
                </c:pt>
                <c:pt idx="1358">
                  <c:v>42885</c:v>
                </c:pt>
                <c:pt idx="1359">
                  <c:v>42886</c:v>
                </c:pt>
                <c:pt idx="1360">
                  <c:v>42887</c:v>
                </c:pt>
                <c:pt idx="1361">
                  <c:v>42888</c:v>
                </c:pt>
                <c:pt idx="1362">
                  <c:v>42891</c:v>
                </c:pt>
                <c:pt idx="1363">
                  <c:v>42892</c:v>
                </c:pt>
                <c:pt idx="1364">
                  <c:v>42893</c:v>
                </c:pt>
                <c:pt idx="1365">
                  <c:v>42894</c:v>
                </c:pt>
                <c:pt idx="1366">
                  <c:v>42895</c:v>
                </c:pt>
                <c:pt idx="1367">
                  <c:v>42899</c:v>
                </c:pt>
                <c:pt idx="1368">
                  <c:v>42900</c:v>
                </c:pt>
                <c:pt idx="1369">
                  <c:v>42901</c:v>
                </c:pt>
                <c:pt idx="1370">
                  <c:v>42902</c:v>
                </c:pt>
                <c:pt idx="1371">
                  <c:v>42905</c:v>
                </c:pt>
                <c:pt idx="1372">
                  <c:v>42906</c:v>
                </c:pt>
                <c:pt idx="1373">
                  <c:v>42907</c:v>
                </c:pt>
                <c:pt idx="1374">
                  <c:v>42908</c:v>
                </c:pt>
                <c:pt idx="1375">
                  <c:v>42909</c:v>
                </c:pt>
                <c:pt idx="1376">
                  <c:v>42912</c:v>
                </c:pt>
                <c:pt idx="1377">
                  <c:v>42913</c:v>
                </c:pt>
                <c:pt idx="1378">
                  <c:v>42914</c:v>
                </c:pt>
                <c:pt idx="1379">
                  <c:v>42915</c:v>
                </c:pt>
                <c:pt idx="1380">
                  <c:v>42916</c:v>
                </c:pt>
                <c:pt idx="1381">
                  <c:v>42919</c:v>
                </c:pt>
                <c:pt idx="1382">
                  <c:v>42920</c:v>
                </c:pt>
                <c:pt idx="1383">
                  <c:v>42921</c:v>
                </c:pt>
                <c:pt idx="1384">
                  <c:v>42922</c:v>
                </c:pt>
                <c:pt idx="1385">
                  <c:v>42923</c:v>
                </c:pt>
                <c:pt idx="1386">
                  <c:v>42926</c:v>
                </c:pt>
                <c:pt idx="1387">
                  <c:v>42927</c:v>
                </c:pt>
                <c:pt idx="1388">
                  <c:v>42928</c:v>
                </c:pt>
                <c:pt idx="1389">
                  <c:v>42929</c:v>
                </c:pt>
                <c:pt idx="1390">
                  <c:v>42930</c:v>
                </c:pt>
                <c:pt idx="1391">
                  <c:v>42933</c:v>
                </c:pt>
                <c:pt idx="1392">
                  <c:v>42934</c:v>
                </c:pt>
                <c:pt idx="1393">
                  <c:v>42935</c:v>
                </c:pt>
                <c:pt idx="1394">
                  <c:v>42936</c:v>
                </c:pt>
                <c:pt idx="1395">
                  <c:v>42937</c:v>
                </c:pt>
                <c:pt idx="1396">
                  <c:v>42940</c:v>
                </c:pt>
                <c:pt idx="1397">
                  <c:v>42941</c:v>
                </c:pt>
                <c:pt idx="1398">
                  <c:v>42942</c:v>
                </c:pt>
                <c:pt idx="1399">
                  <c:v>42943</c:v>
                </c:pt>
                <c:pt idx="1400">
                  <c:v>42944</c:v>
                </c:pt>
                <c:pt idx="1401">
                  <c:v>42947</c:v>
                </c:pt>
                <c:pt idx="1402">
                  <c:v>42948</c:v>
                </c:pt>
                <c:pt idx="1403">
                  <c:v>42949</c:v>
                </c:pt>
                <c:pt idx="1404">
                  <c:v>42950</c:v>
                </c:pt>
                <c:pt idx="1405">
                  <c:v>42951</c:v>
                </c:pt>
                <c:pt idx="1406">
                  <c:v>42954</c:v>
                </c:pt>
                <c:pt idx="1407">
                  <c:v>42955</c:v>
                </c:pt>
                <c:pt idx="1408">
                  <c:v>42956</c:v>
                </c:pt>
                <c:pt idx="1409">
                  <c:v>42957</c:v>
                </c:pt>
                <c:pt idx="1410">
                  <c:v>42958</c:v>
                </c:pt>
                <c:pt idx="1411">
                  <c:v>42961</c:v>
                </c:pt>
                <c:pt idx="1412">
                  <c:v>42962</c:v>
                </c:pt>
                <c:pt idx="1413">
                  <c:v>42963</c:v>
                </c:pt>
                <c:pt idx="1414">
                  <c:v>42964</c:v>
                </c:pt>
                <c:pt idx="1415">
                  <c:v>42965</c:v>
                </c:pt>
                <c:pt idx="1416">
                  <c:v>42968</c:v>
                </c:pt>
                <c:pt idx="1417">
                  <c:v>42969</c:v>
                </c:pt>
                <c:pt idx="1418">
                  <c:v>42970</c:v>
                </c:pt>
                <c:pt idx="1419">
                  <c:v>42971</c:v>
                </c:pt>
                <c:pt idx="1420">
                  <c:v>42972</c:v>
                </c:pt>
                <c:pt idx="1421">
                  <c:v>42975</c:v>
                </c:pt>
                <c:pt idx="1422">
                  <c:v>42976</c:v>
                </c:pt>
                <c:pt idx="1423">
                  <c:v>42977</c:v>
                </c:pt>
                <c:pt idx="1424">
                  <c:v>42978</c:v>
                </c:pt>
                <c:pt idx="1425">
                  <c:v>42979</c:v>
                </c:pt>
                <c:pt idx="1426">
                  <c:v>42982</c:v>
                </c:pt>
                <c:pt idx="1427">
                  <c:v>42983</c:v>
                </c:pt>
                <c:pt idx="1428">
                  <c:v>42984</c:v>
                </c:pt>
                <c:pt idx="1429">
                  <c:v>42985</c:v>
                </c:pt>
                <c:pt idx="1430">
                  <c:v>42986</c:v>
                </c:pt>
                <c:pt idx="1431">
                  <c:v>42989</c:v>
                </c:pt>
                <c:pt idx="1432">
                  <c:v>42990</c:v>
                </c:pt>
                <c:pt idx="1433">
                  <c:v>42991</c:v>
                </c:pt>
                <c:pt idx="1434">
                  <c:v>42992</c:v>
                </c:pt>
                <c:pt idx="1435">
                  <c:v>42993</c:v>
                </c:pt>
                <c:pt idx="1436">
                  <c:v>42996</c:v>
                </c:pt>
                <c:pt idx="1437">
                  <c:v>42997</c:v>
                </c:pt>
                <c:pt idx="1438">
                  <c:v>42998</c:v>
                </c:pt>
                <c:pt idx="1439">
                  <c:v>42999</c:v>
                </c:pt>
                <c:pt idx="1440">
                  <c:v>43000</c:v>
                </c:pt>
                <c:pt idx="1441">
                  <c:v>43003</c:v>
                </c:pt>
                <c:pt idx="1442">
                  <c:v>43004</c:v>
                </c:pt>
                <c:pt idx="1443">
                  <c:v>43005</c:v>
                </c:pt>
                <c:pt idx="1444">
                  <c:v>43006</c:v>
                </c:pt>
                <c:pt idx="1445">
                  <c:v>43007</c:v>
                </c:pt>
                <c:pt idx="1446">
                  <c:v>43010</c:v>
                </c:pt>
                <c:pt idx="1447">
                  <c:v>43011</c:v>
                </c:pt>
                <c:pt idx="1448">
                  <c:v>43012</c:v>
                </c:pt>
                <c:pt idx="1449">
                  <c:v>43013</c:v>
                </c:pt>
                <c:pt idx="1450">
                  <c:v>43014</c:v>
                </c:pt>
                <c:pt idx="1451">
                  <c:v>43017</c:v>
                </c:pt>
                <c:pt idx="1452">
                  <c:v>43018</c:v>
                </c:pt>
                <c:pt idx="1453">
                  <c:v>43019</c:v>
                </c:pt>
                <c:pt idx="1454">
                  <c:v>43020</c:v>
                </c:pt>
                <c:pt idx="1455">
                  <c:v>43021</c:v>
                </c:pt>
                <c:pt idx="1456">
                  <c:v>43024</c:v>
                </c:pt>
                <c:pt idx="1457">
                  <c:v>43025</c:v>
                </c:pt>
                <c:pt idx="1458">
                  <c:v>43026</c:v>
                </c:pt>
                <c:pt idx="1459">
                  <c:v>43027</c:v>
                </c:pt>
                <c:pt idx="1460">
                  <c:v>43028</c:v>
                </c:pt>
                <c:pt idx="1461">
                  <c:v>43031</c:v>
                </c:pt>
                <c:pt idx="1462">
                  <c:v>43032</c:v>
                </c:pt>
                <c:pt idx="1463">
                  <c:v>43033</c:v>
                </c:pt>
                <c:pt idx="1464">
                  <c:v>43034</c:v>
                </c:pt>
                <c:pt idx="1465">
                  <c:v>43035</c:v>
                </c:pt>
                <c:pt idx="1466">
                  <c:v>43038</c:v>
                </c:pt>
                <c:pt idx="1467">
                  <c:v>43039</c:v>
                </c:pt>
                <c:pt idx="1468">
                  <c:v>43040</c:v>
                </c:pt>
                <c:pt idx="1469">
                  <c:v>43041</c:v>
                </c:pt>
                <c:pt idx="1470">
                  <c:v>43042</c:v>
                </c:pt>
                <c:pt idx="1471">
                  <c:v>43046</c:v>
                </c:pt>
                <c:pt idx="1472">
                  <c:v>43047</c:v>
                </c:pt>
                <c:pt idx="1473">
                  <c:v>43048</c:v>
                </c:pt>
                <c:pt idx="1474">
                  <c:v>43049</c:v>
                </c:pt>
                <c:pt idx="1475">
                  <c:v>43052</c:v>
                </c:pt>
                <c:pt idx="1476">
                  <c:v>43053</c:v>
                </c:pt>
                <c:pt idx="1477">
                  <c:v>43054</c:v>
                </c:pt>
                <c:pt idx="1478">
                  <c:v>43055</c:v>
                </c:pt>
                <c:pt idx="1479">
                  <c:v>43056</c:v>
                </c:pt>
                <c:pt idx="1480">
                  <c:v>43059</c:v>
                </c:pt>
                <c:pt idx="1481">
                  <c:v>43060</c:v>
                </c:pt>
                <c:pt idx="1482">
                  <c:v>43061</c:v>
                </c:pt>
                <c:pt idx="1483">
                  <c:v>43062</c:v>
                </c:pt>
                <c:pt idx="1484">
                  <c:v>43063</c:v>
                </c:pt>
                <c:pt idx="1485">
                  <c:v>43066</c:v>
                </c:pt>
                <c:pt idx="1486">
                  <c:v>43067</c:v>
                </c:pt>
                <c:pt idx="1487">
                  <c:v>43068</c:v>
                </c:pt>
                <c:pt idx="1488">
                  <c:v>43069</c:v>
                </c:pt>
                <c:pt idx="1489">
                  <c:v>43070</c:v>
                </c:pt>
                <c:pt idx="1490">
                  <c:v>43073</c:v>
                </c:pt>
                <c:pt idx="1491">
                  <c:v>43074</c:v>
                </c:pt>
                <c:pt idx="1492">
                  <c:v>43075</c:v>
                </c:pt>
                <c:pt idx="1493">
                  <c:v>43076</c:v>
                </c:pt>
                <c:pt idx="1494">
                  <c:v>43077</c:v>
                </c:pt>
                <c:pt idx="1495">
                  <c:v>43080</c:v>
                </c:pt>
                <c:pt idx="1496">
                  <c:v>43081</c:v>
                </c:pt>
                <c:pt idx="1497">
                  <c:v>43082</c:v>
                </c:pt>
                <c:pt idx="1498">
                  <c:v>43083</c:v>
                </c:pt>
                <c:pt idx="1499">
                  <c:v>43084</c:v>
                </c:pt>
                <c:pt idx="1500">
                  <c:v>43087</c:v>
                </c:pt>
                <c:pt idx="1501">
                  <c:v>43088</c:v>
                </c:pt>
                <c:pt idx="1502">
                  <c:v>43089</c:v>
                </c:pt>
                <c:pt idx="1503">
                  <c:v>43090</c:v>
                </c:pt>
                <c:pt idx="1504">
                  <c:v>43091</c:v>
                </c:pt>
                <c:pt idx="1505">
                  <c:v>43094</c:v>
                </c:pt>
                <c:pt idx="1506">
                  <c:v>43095</c:v>
                </c:pt>
                <c:pt idx="1507">
                  <c:v>43096</c:v>
                </c:pt>
                <c:pt idx="1508">
                  <c:v>43097</c:v>
                </c:pt>
                <c:pt idx="1509">
                  <c:v>43098</c:v>
                </c:pt>
                <c:pt idx="1510">
                  <c:v>43103</c:v>
                </c:pt>
                <c:pt idx="1511">
                  <c:v>43104</c:v>
                </c:pt>
                <c:pt idx="1512">
                  <c:v>43105</c:v>
                </c:pt>
                <c:pt idx="1513">
                  <c:v>43109</c:v>
                </c:pt>
                <c:pt idx="1514">
                  <c:v>43110</c:v>
                </c:pt>
                <c:pt idx="1515">
                  <c:v>43111</c:v>
                </c:pt>
                <c:pt idx="1516">
                  <c:v>43112</c:v>
                </c:pt>
                <c:pt idx="1517">
                  <c:v>43115</c:v>
                </c:pt>
                <c:pt idx="1518">
                  <c:v>43116</c:v>
                </c:pt>
                <c:pt idx="1519">
                  <c:v>43117</c:v>
                </c:pt>
                <c:pt idx="1520">
                  <c:v>43118</c:v>
                </c:pt>
                <c:pt idx="1521">
                  <c:v>43119</c:v>
                </c:pt>
                <c:pt idx="1522">
                  <c:v>43122</c:v>
                </c:pt>
                <c:pt idx="1523">
                  <c:v>43123</c:v>
                </c:pt>
                <c:pt idx="1524">
                  <c:v>43124</c:v>
                </c:pt>
                <c:pt idx="1525">
                  <c:v>43125</c:v>
                </c:pt>
                <c:pt idx="1526">
                  <c:v>43126</c:v>
                </c:pt>
                <c:pt idx="1527">
                  <c:v>43129</c:v>
                </c:pt>
                <c:pt idx="1528">
                  <c:v>43130</c:v>
                </c:pt>
                <c:pt idx="1529">
                  <c:v>43131</c:v>
                </c:pt>
                <c:pt idx="1530">
                  <c:v>43132</c:v>
                </c:pt>
                <c:pt idx="1531">
                  <c:v>43133</c:v>
                </c:pt>
                <c:pt idx="1532">
                  <c:v>43136</c:v>
                </c:pt>
                <c:pt idx="1533">
                  <c:v>43137</c:v>
                </c:pt>
                <c:pt idx="1534">
                  <c:v>43138</c:v>
                </c:pt>
                <c:pt idx="1535">
                  <c:v>43139</c:v>
                </c:pt>
                <c:pt idx="1536">
                  <c:v>43140</c:v>
                </c:pt>
                <c:pt idx="1537">
                  <c:v>43143</c:v>
                </c:pt>
                <c:pt idx="1538">
                  <c:v>43144</c:v>
                </c:pt>
                <c:pt idx="1539">
                  <c:v>43145</c:v>
                </c:pt>
                <c:pt idx="1540">
                  <c:v>43146</c:v>
                </c:pt>
                <c:pt idx="1541">
                  <c:v>43147</c:v>
                </c:pt>
                <c:pt idx="1542">
                  <c:v>43150</c:v>
                </c:pt>
                <c:pt idx="1543">
                  <c:v>43151</c:v>
                </c:pt>
                <c:pt idx="1544">
                  <c:v>43152</c:v>
                </c:pt>
                <c:pt idx="1545">
                  <c:v>43153</c:v>
                </c:pt>
                <c:pt idx="1546">
                  <c:v>43157</c:v>
                </c:pt>
                <c:pt idx="1547">
                  <c:v>43158</c:v>
                </c:pt>
                <c:pt idx="1548">
                  <c:v>43159</c:v>
                </c:pt>
                <c:pt idx="1549">
                  <c:v>43160</c:v>
                </c:pt>
                <c:pt idx="1550">
                  <c:v>43161</c:v>
                </c:pt>
                <c:pt idx="1551">
                  <c:v>43164</c:v>
                </c:pt>
                <c:pt idx="1552">
                  <c:v>43165</c:v>
                </c:pt>
                <c:pt idx="1553">
                  <c:v>43166</c:v>
                </c:pt>
                <c:pt idx="1554">
                  <c:v>43168</c:v>
                </c:pt>
                <c:pt idx="1555">
                  <c:v>43171</c:v>
                </c:pt>
                <c:pt idx="1556">
                  <c:v>43172</c:v>
                </c:pt>
                <c:pt idx="1557">
                  <c:v>43173</c:v>
                </c:pt>
                <c:pt idx="1558">
                  <c:v>43174</c:v>
                </c:pt>
                <c:pt idx="1559">
                  <c:v>43175</c:v>
                </c:pt>
                <c:pt idx="1560">
                  <c:v>43178</c:v>
                </c:pt>
                <c:pt idx="1561">
                  <c:v>43179</c:v>
                </c:pt>
                <c:pt idx="1562">
                  <c:v>43180</c:v>
                </c:pt>
                <c:pt idx="1563">
                  <c:v>43181</c:v>
                </c:pt>
                <c:pt idx="1564">
                  <c:v>43182</c:v>
                </c:pt>
                <c:pt idx="1565">
                  <c:v>43185</c:v>
                </c:pt>
                <c:pt idx="1566">
                  <c:v>43186</c:v>
                </c:pt>
                <c:pt idx="1567">
                  <c:v>43187</c:v>
                </c:pt>
                <c:pt idx="1568">
                  <c:v>43188</c:v>
                </c:pt>
                <c:pt idx="1569">
                  <c:v>43189</c:v>
                </c:pt>
                <c:pt idx="1570">
                  <c:v>43192</c:v>
                </c:pt>
                <c:pt idx="1571">
                  <c:v>43193</c:v>
                </c:pt>
                <c:pt idx="1572">
                  <c:v>43194</c:v>
                </c:pt>
                <c:pt idx="1573">
                  <c:v>43195</c:v>
                </c:pt>
                <c:pt idx="1574">
                  <c:v>43196</c:v>
                </c:pt>
                <c:pt idx="1575">
                  <c:v>43199</c:v>
                </c:pt>
                <c:pt idx="1576">
                  <c:v>43200</c:v>
                </c:pt>
                <c:pt idx="1577">
                  <c:v>43201</c:v>
                </c:pt>
                <c:pt idx="1578">
                  <c:v>43202</c:v>
                </c:pt>
                <c:pt idx="1579">
                  <c:v>43203</c:v>
                </c:pt>
                <c:pt idx="1580">
                  <c:v>43206</c:v>
                </c:pt>
                <c:pt idx="1581">
                  <c:v>43207</c:v>
                </c:pt>
                <c:pt idx="1582">
                  <c:v>43208</c:v>
                </c:pt>
                <c:pt idx="1583">
                  <c:v>43209</c:v>
                </c:pt>
                <c:pt idx="1584">
                  <c:v>43210</c:v>
                </c:pt>
                <c:pt idx="1585">
                  <c:v>43213</c:v>
                </c:pt>
                <c:pt idx="1586">
                  <c:v>43214</c:v>
                </c:pt>
                <c:pt idx="1587">
                  <c:v>43215</c:v>
                </c:pt>
                <c:pt idx="1588">
                  <c:v>43216</c:v>
                </c:pt>
                <c:pt idx="1589">
                  <c:v>43217</c:v>
                </c:pt>
                <c:pt idx="1590">
                  <c:v>43218</c:v>
                </c:pt>
                <c:pt idx="1591">
                  <c:v>43220</c:v>
                </c:pt>
                <c:pt idx="1592">
                  <c:v>43222</c:v>
                </c:pt>
                <c:pt idx="1593">
                  <c:v>43223</c:v>
                </c:pt>
                <c:pt idx="1594">
                  <c:v>43224</c:v>
                </c:pt>
                <c:pt idx="1595">
                  <c:v>43227</c:v>
                </c:pt>
                <c:pt idx="1596">
                  <c:v>43228</c:v>
                </c:pt>
                <c:pt idx="1597">
                  <c:v>43230</c:v>
                </c:pt>
                <c:pt idx="1598">
                  <c:v>43231</c:v>
                </c:pt>
                <c:pt idx="1599">
                  <c:v>43234</c:v>
                </c:pt>
                <c:pt idx="1600">
                  <c:v>43235</c:v>
                </c:pt>
                <c:pt idx="1601">
                  <c:v>43236</c:v>
                </c:pt>
                <c:pt idx="1602">
                  <c:v>43237</c:v>
                </c:pt>
                <c:pt idx="1603">
                  <c:v>43238</c:v>
                </c:pt>
                <c:pt idx="1604">
                  <c:v>43241</c:v>
                </c:pt>
                <c:pt idx="1605">
                  <c:v>43242</c:v>
                </c:pt>
                <c:pt idx="1606">
                  <c:v>43243</c:v>
                </c:pt>
                <c:pt idx="1607">
                  <c:v>43244</c:v>
                </c:pt>
                <c:pt idx="1608">
                  <c:v>43245</c:v>
                </c:pt>
                <c:pt idx="1609">
                  <c:v>43248</c:v>
                </c:pt>
                <c:pt idx="1610">
                  <c:v>43249</c:v>
                </c:pt>
                <c:pt idx="1611">
                  <c:v>43250</c:v>
                </c:pt>
                <c:pt idx="1612">
                  <c:v>43251</c:v>
                </c:pt>
                <c:pt idx="1613">
                  <c:v>43252</c:v>
                </c:pt>
                <c:pt idx="1614">
                  <c:v>43255</c:v>
                </c:pt>
                <c:pt idx="1615">
                  <c:v>43256</c:v>
                </c:pt>
                <c:pt idx="1616">
                  <c:v>43257</c:v>
                </c:pt>
                <c:pt idx="1617">
                  <c:v>43258</c:v>
                </c:pt>
                <c:pt idx="1618">
                  <c:v>43259</c:v>
                </c:pt>
                <c:pt idx="1619">
                  <c:v>43260</c:v>
                </c:pt>
                <c:pt idx="1620">
                  <c:v>43262</c:v>
                </c:pt>
                <c:pt idx="1621">
                  <c:v>43264</c:v>
                </c:pt>
                <c:pt idx="1622">
                  <c:v>43265</c:v>
                </c:pt>
                <c:pt idx="1623">
                  <c:v>43266</c:v>
                </c:pt>
                <c:pt idx="1624">
                  <c:v>43269</c:v>
                </c:pt>
                <c:pt idx="1625">
                  <c:v>43270</c:v>
                </c:pt>
                <c:pt idx="1626">
                  <c:v>43271</c:v>
                </c:pt>
                <c:pt idx="1627">
                  <c:v>43272</c:v>
                </c:pt>
                <c:pt idx="1628">
                  <c:v>43273</c:v>
                </c:pt>
                <c:pt idx="1629">
                  <c:v>43276</c:v>
                </c:pt>
                <c:pt idx="1630">
                  <c:v>43277</c:v>
                </c:pt>
                <c:pt idx="1631">
                  <c:v>43278</c:v>
                </c:pt>
                <c:pt idx="1632">
                  <c:v>43279</c:v>
                </c:pt>
                <c:pt idx="1633">
                  <c:v>43280</c:v>
                </c:pt>
                <c:pt idx="1634">
                  <c:v>43283</c:v>
                </c:pt>
                <c:pt idx="1635">
                  <c:v>43284</c:v>
                </c:pt>
                <c:pt idx="1636">
                  <c:v>43285</c:v>
                </c:pt>
                <c:pt idx="1637">
                  <c:v>43286</c:v>
                </c:pt>
                <c:pt idx="1638">
                  <c:v>43287</c:v>
                </c:pt>
                <c:pt idx="1639">
                  <c:v>43290</c:v>
                </c:pt>
                <c:pt idx="1640">
                  <c:v>43291</c:v>
                </c:pt>
                <c:pt idx="1641">
                  <c:v>43292</c:v>
                </c:pt>
                <c:pt idx="1642">
                  <c:v>43293</c:v>
                </c:pt>
                <c:pt idx="1643">
                  <c:v>43294</c:v>
                </c:pt>
                <c:pt idx="1644">
                  <c:v>43297</c:v>
                </c:pt>
                <c:pt idx="1645">
                  <c:v>43298</c:v>
                </c:pt>
                <c:pt idx="1646">
                  <c:v>43299</c:v>
                </c:pt>
                <c:pt idx="1647">
                  <c:v>43300</c:v>
                </c:pt>
                <c:pt idx="1648">
                  <c:v>43301</c:v>
                </c:pt>
                <c:pt idx="1649">
                  <c:v>43304</c:v>
                </c:pt>
                <c:pt idx="1650">
                  <c:v>43305</c:v>
                </c:pt>
                <c:pt idx="1651">
                  <c:v>43306</c:v>
                </c:pt>
                <c:pt idx="1652">
                  <c:v>43307</c:v>
                </c:pt>
                <c:pt idx="1653">
                  <c:v>43308</c:v>
                </c:pt>
                <c:pt idx="1654">
                  <c:v>43311</c:v>
                </c:pt>
                <c:pt idx="1655">
                  <c:v>43312</c:v>
                </c:pt>
                <c:pt idx="1656">
                  <c:v>43313</c:v>
                </c:pt>
                <c:pt idx="1657">
                  <c:v>43314</c:v>
                </c:pt>
                <c:pt idx="1658">
                  <c:v>43315</c:v>
                </c:pt>
                <c:pt idx="1659">
                  <c:v>43318</c:v>
                </c:pt>
                <c:pt idx="1660">
                  <c:v>43319</c:v>
                </c:pt>
                <c:pt idx="1661">
                  <c:v>43320</c:v>
                </c:pt>
                <c:pt idx="1662">
                  <c:v>43321</c:v>
                </c:pt>
                <c:pt idx="1663">
                  <c:v>43322</c:v>
                </c:pt>
                <c:pt idx="1664">
                  <c:v>43325</c:v>
                </c:pt>
                <c:pt idx="1665">
                  <c:v>43326</c:v>
                </c:pt>
                <c:pt idx="1666">
                  <c:v>43327</c:v>
                </c:pt>
                <c:pt idx="1667">
                  <c:v>43328</c:v>
                </c:pt>
                <c:pt idx="1668">
                  <c:v>43329</c:v>
                </c:pt>
                <c:pt idx="1669">
                  <c:v>43332</c:v>
                </c:pt>
                <c:pt idx="1670">
                  <c:v>43333</c:v>
                </c:pt>
                <c:pt idx="1671">
                  <c:v>43334</c:v>
                </c:pt>
                <c:pt idx="1672">
                  <c:v>43335</c:v>
                </c:pt>
                <c:pt idx="1673">
                  <c:v>43336</c:v>
                </c:pt>
                <c:pt idx="1674">
                  <c:v>43339</c:v>
                </c:pt>
                <c:pt idx="1675">
                  <c:v>43340</c:v>
                </c:pt>
                <c:pt idx="1676">
                  <c:v>43341</c:v>
                </c:pt>
                <c:pt idx="1677">
                  <c:v>43342</c:v>
                </c:pt>
                <c:pt idx="1678">
                  <c:v>43343</c:v>
                </c:pt>
                <c:pt idx="1679">
                  <c:v>43346</c:v>
                </c:pt>
                <c:pt idx="1680">
                  <c:v>43347</c:v>
                </c:pt>
                <c:pt idx="1681">
                  <c:v>43348</c:v>
                </c:pt>
                <c:pt idx="1682">
                  <c:v>43349</c:v>
                </c:pt>
                <c:pt idx="1683">
                  <c:v>43350</c:v>
                </c:pt>
                <c:pt idx="1684">
                  <c:v>43353</c:v>
                </c:pt>
                <c:pt idx="1685">
                  <c:v>43354</c:v>
                </c:pt>
                <c:pt idx="1686">
                  <c:v>43355</c:v>
                </c:pt>
                <c:pt idx="1687">
                  <c:v>43356</c:v>
                </c:pt>
                <c:pt idx="1688">
                  <c:v>43357</c:v>
                </c:pt>
                <c:pt idx="1689">
                  <c:v>43360</c:v>
                </c:pt>
                <c:pt idx="1690">
                  <c:v>43361</c:v>
                </c:pt>
                <c:pt idx="1691">
                  <c:v>43362</c:v>
                </c:pt>
                <c:pt idx="1692">
                  <c:v>43363</c:v>
                </c:pt>
                <c:pt idx="1693">
                  <c:v>43364</c:v>
                </c:pt>
                <c:pt idx="1694">
                  <c:v>43367</c:v>
                </c:pt>
                <c:pt idx="1695">
                  <c:v>43368</c:v>
                </c:pt>
                <c:pt idx="1696">
                  <c:v>43369</c:v>
                </c:pt>
                <c:pt idx="1697">
                  <c:v>43370</c:v>
                </c:pt>
                <c:pt idx="1698">
                  <c:v>43371</c:v>
                </c:pt>
                <c:pt idx="1699">
                  <c:v>43374</c:v>
                </c:pt>
                <c:pt idx="1700">
                  <c:v>43375</c:v>
                </c:pt>
                <c:pt idx="1701">
                  <c:v>43376</c:v>
                </c:pt>
                <c:pt idx="1702">
                  <c:v>43377</c:v>
                </c:pt>
                <c:pt idx="1703">
                  <c:v>43378</c:v>
                </c:pt>
                <c:pt idx="1704">
                  <c:v>43381</c:v>
                </c:pt>
                <c:pt idx="1705">
                  <c:v>43382</c:v>
                </c:pt>
                <c:pt idx="1706">
                  <c:v>43383</c:v>
                </c:pt>
                <c:pt idx="1707">
                  <c:v>43384</c:v>
                </c:pt>
                <c:pt idx="1708">
                  <c:v>43385</c:v>
                </c:pt>
                <c:pt idx="1709">
                  <c:v>43388</c:v>
                </c:pt>
                <c:pt idx="1710">
                  <c:v>43389</c:v>
                </c:pt>
                <c:pt idx="1711">
                  <c:v>43390</c:v>
                </c:pt>
                <c:pt idx="1712">
                  <c:v>43391</c:v>
                </c:pt>
                <c:pt idx="1713">
                  <c:v>43392</c:v>
                </c:pt>
                <c:pt idx="1714">
                  <c:v>43395</c:v>
                </c:pt>
                <c:pt idx="1715">
                  <c:v>43396</c:v>
                </c:pt>
                <c:pt idx="1716">
                  <c:v>43397</c:v>
                </c:pt>
                <c:pt idx="1717">
                  <c:v>43398</c:v>
                </c:pt>
                <c:pt idx="1718">
                  <c:v>43399</c:v>
                </c:pt>
                <c:pt idx="1719">
                  <c:v>43402</c:v>
                </c:pt>
                <c:pt idx="1720">
                  <c:v>43403</c:v>
                </c:pt>
                <c:pt idx="1721">
                  <c:v>43404</c:v>
                </c:pt>
                <c:pt idx="1722">
                  <c:v>43405</c:v>
                </c:pt>
                <c:pt idx="1723">
                  <c:v>43406</c:v>
                </c:pt>
                <c:pt idx="1724">
                  <c:v>43410</c:v>
                </c:pt>
                <c:pt idx="1725">
                  <c:v>43411</c:v>
                </c:pt>
                <c:pt idx="1726">
                  <c:v>43412</c:v>
                </c:pt>
                <c:pt idx="1727">
                  <c:v>43413</c:v>
                </c:pt>
                <c:pt idx="1728">
                  <c:v>43416</c:v>
                </c:pt>
                <c:pt idx="1729">
                  <c:v>43417</c:v>
                </c:pt>
                <c:pt idx="1730">
                  <c:v>43418</c:v>
                </c:pt>
                <c:pt idx="1731">
                  <c:v>43419</c:v>
                </c:pt>
                <c:pt idx="1732">
                  <c:v>43420</c:v>
                </c:pt>
                <c:pt idx="1733">
                  <c:v>43423</c:v>
                </c:pt>
                <c:pt idx="1734">
                  <c:v>43424</c:v>
                </c:pt>
                <c:pt idx="1735">
                  <c:v>43425</c:v>
                </c:pt>
                <c:pt idx="1736">
                  <c:v>43426</c:v>
                </c:pt>
                <c:pt idx="1737">
                  <c:v>43427</c:v>
                </c:pt>
                <c:pt idx="1738">
                  <c:v>43430</c:v>
                </c:pt>
                <c:pt idx="1739">
                  <c:v>43431</c:v>
                </c:pt>
                <c:pt idx="1740">
                  <c:v>43432</c:v>
                </c:pt>
                <c:pt idx="1741">
                  <c:v>43433</c:v>
                </c:pt>
                <c:pt idx="1742">
                  <c:v>43434</c:v>
                </c:pt>
                <c:pt idx="1743">
                  <c:v>43437</c:v>
                </c:pt>
              </c:numCache>
            </c:numRef>
          </c:cat>
          <c:val>
            <c:numRef>
              <c:f>значения!$I$2:$I$1745</c:f>
              <c:numCache>
                <c:formatCode>0.00%</c:formatCode>
                <c:ptCount val="1744"/>
                <c:pt idx="0">
                  <c:v>1</c:v>
                </c:pt>
                <c:pt idx="1">
                  <c:v>1.0303302596578308</c:v>
                </c:pt>
                <c:pt idx="2">
                  <c:v>1.0323484735029202</c:v>
                </c:pt>
                <c:pt idx="3">
                  <c:v>1.0233057344372891</c:v>
                </c:pt>
                <c:pt idx="4">
                  <c:v>1.0273635566205257</c:v>
                </c:pt>
                <c:pt idx="5">
                  <c:v>1.0328975988247291</c:v>
                </c:pt>
                <c:pt idx="6">
                  <c:v>1.0532366302247136</c:v>
                </c:pt>
                <c:pt idx="7">
                  <c:v>1.0450995913651826</c:v>
                </c:pt>
                <c:pt idx="8">
                  <c:v>1.0444292305827148</c:v>
                </c:pt>
                <c:pt idx="9">
                  <c:v>1.0436447658372736</c:v>
                </c:pt>
                <c:pt idx="10">
                  <c:v>1.0443507841081705</c:v>
                </c:pt>
                <c:pt idx="11">
                  <c:v>1.0599830270355077</c:v>
                </c:pt>
                <c:pt idx="12">
                  <c:v>1.0652318093322779</c:v>
                </c:pt>
                <c:pt idx="13">
                  <c:v>1.0723633070181069</c:v>
                </c:pt>
                <c:pt idx="14">
                  <c:v>1.0634132774223914</c:v>
                </c:pt>
                <c:pt idx="15">
                  <c:v>1.0692040535432845</c:v>
                </c:pt>
                <c:pt idx="16">
                  <c:v>1.0616660604893633</c:v>
                </c:pt>
                <c:pt idx="17">
                  <c:v>1.0688617416543649</c:v>
                </c:pt>
                <c:pt idx="18">
                  <c:v>1.0802222174678904</c:v>
                </c:pt>
                <c:pt idx="19">
                  <c:v>1.0754583770137567</c:v>
                </c:pt>
                <c:pt idx="20">
                  <c:v>1.0670859987305934</c:v>
                </c:pt>
                <c:pt idx="21">
                  <c:v>1.0797301441275682</c:v>
                </c:pt>
                <c:pt idx="22">
                  <c:v>1.0977942277657731</c:v>
                </c:pt>
                <c:pt idx="23">
                  <c:v>1.0999550715645794</c:v>
                </c:pt>
                <c:pt idx="24">
                  <c:v>1.1159510208738936</c:v>
                </c:pt>
                <c:pt idx="25">
                  <c:v>1.114560378825157</c:v>
                </c:pt>
                <c:pt idx="26">
                  <c:v>1.105018434921518</c:v>
                </c:pt>
                <c:pt idx="27">
                  <c:v>1.1090263366209536</c:v>
                </c:pt>
                <c:pt idx="28">
                  <c:v>1.0994202092381422</c:v>
                </c:pt>
                <c:pt idx="29">
                  <c:v>1.0876746325495819</c:v>
                </c:pt>
                <c:pt idx="30">
                  <c:v>1.1119502506721437</c:v>
                </c:pt>
                <c:pt idx="31">
                  <c:v>1.1140326479964058</c:v>
                </c:pt>
                <c:pt idx="32">
                  <c:v>1.1263344815044609</c:v>
                </c:pt>
                <c:pt idx="33">
                  <c:v>1.1199018705918429</c:v>
                </c:pt>
                <c:pt idx="34">
                  <c:v>1.1186039380130222</c:v>
                </c:pt>
                <c:pt idx="35">
                  <c:v>1.12619898304843</c:v>
                </c:pt>
                <c:pt idx="36">
                  <c:v>1.1117862262253695</c:v>
                </c:pt>
                <c:pt idx="37">
                  <c:v>1.0969455795411596</c:v>
                </c:pt>
                <c:pt idx="38">
                  <c:v>1.1371529634938633</c:v>
                </c:pt>
                <c:pt idx="39">
                  <c:v>1.1358051104312417</c:v>
                </c:pt>
                <c:pt idx="40">
                  <c:v>1.1225690507263431</c:v>
                </c:pt>
                <c:pt idx="41">
                  <c:v>1.139377990771842</c:v>
                </c:pt>
                <c:pt idx="42">
                  <c:v>1.1380301377092203</c:v>
                </c:pt>
                <c:pt idx="43">
                  <c:v>1.1468018798627899</c:v>
                </c:pt>
                <c:pt idx="44">
                  <c:v>1.159396104775964</c:v>
                </c:pt>
                <c:pt idx="45">
                  <c:v>1.1140754369825208</c:v>
                </c:pt>
                <c:pt idx="46">
                  <c:v>1.1216633505202427</c:v>
                </c:pt>
                <c:pt idx="47">
                  <c:v>1.1455538677677699</c:v>
                </c:pt>
                <c:pt idx="48">
                  <c:v>1.1440776477468033</c:v>
                </c:pt>
                <c:pt idx="49">
                  <c:v>1.1495118489834051</c:v>
                </c:pt>
                <c:pt idx="50">
                  <c:v>1.1632542450239975</c:v>
                </c:pt>
                <c:pt idx="51">
                  <c:v>1.1600308080700028</c:v>
                </c:pt>
                <c:pt idx="52">
                  <c:v>1.1545823438380294</c:v>
                </c:pt>
                <c:pt idx="53">
                  <c:v>1.1313479243775986</c:v>
                </c:pt>
                <c:pt idx="54">
                  <c:v>1.1115508868017372</c:v>
                </c:pt>
                <c:pt idx="55">
                  <c:v>1.1066515478915726</c:v>
                </c:pt>
                <c:pt idx="56">
                  <c:v>1.0907697025452314</c:v>
                </c:pt>
                <c:pt idx="57">
                  <c:v>1.0989423988931917</c:v>
                </c:pt>
                <c:pt idx="58">
                  <c:v>1.1161649658044686</c:v>
                </c:pt>
                <c:pt idx="59">
                  <c:v>1.10843442231303</c:v>
                </c:pt>
                <c:pt idx="60">
                  <c:v>1.0842515136603836</c:v>
                </c:pt>
                <c:pt idx="61">
                  <c:v>1.066059063063834</c:v>
                </c:pt>
                <c:pt idx="62">
                  <c:v>1.0820906698615775</c:v>
                </c:pt>
                <c:pt idx="63">
                  <c:v>1.0853426328063156</c:v>
                </c:pt>
                <c:pt idx="64">
                  <c:v>1.1054177987919243</c:v>
                </c:pt>
                <c:pt idx="65">
                  <c:v>1.078910021893698</c:v>
                </c:pt>
                <c:pt idx="66">
                  <c:v>1.0876318435634666</c:v>
                </c:pt>
                <c:pt idx="67">
                  <c:v>1.0677207020246322</c:v>
                </c:pt>
                <c:pt idx="68">
                  <c:v>1.0772055939467848</c:v>
                </c:pt>
                <c:pt idx="69">
                  <c:v>1.0683482738209851</c:v>
                </c:pt>
                <c:pt idx="70">
                  <c:v>1.0738395270390735</c:v>
                </c:pt>
                <c:pt idx="71">
                  <c:v>1.0708870869971403</c:v>
                </c:pt>
                <c:pt idx="72">
                  <c:v>1.0716144997610948</c:v>
                </c:pt>
                <c:pt idx="73">
                  <c:v>1.0538285445326374</c:v>
                </c:pt>
                <c:pt idx="74">
                  <c:v>1.0494783309442814</c:v>
                </c:pt>
                <c:pt idx="75">
                  <c:v>1.047296092652418</c:v>
                </c:pt>
                <c:pt idx="76">
                  <c:v>1.0672999436611681</c:v>
                </c:pt>
                <c:pt idx="77">
                  <c:v>1.0733617166941229</c:v>
                </c:pt>
                <c:pt idx="78">
                  <c:v>1.0457200316638497</c:v>
                </c:pt>
                <c:pt idx="79">
                  <c:v>1.0393444727327186</c:v>
                </c:pt>
                <c:pt idx="80">
                  <c:v>1.0425179892029124</c:v>
                </c:pt>
                <c:pt idx="81">
                  <c:v>1.0319705041255713</c:v>
                </c:pt>
                <c:pt idx="82">
                  <c:v>1.0480805573978591</c:v>
                </c:pt>
                <c:pt idx="83">
                  <c:v>1.0508261840069033</c:v>
                </c:pt>
                <c:pt idx="84">
                  <c:v>1.0312430913616168</c:v>
                </c:pt>
                <c:pt idx="85">
                  <c:v>1.0288683026322358</c:v>
                </c:pt>
                <c:pt idx="86">
                  <c:v>0.9920911690664157</c:v>
                </c:pt>
                <c:pt idx="87">
                  <c:v>0.98871797066101852</c:v>
                </c:pt>
                <c:pt idx="88">
                  <c:v>0.98781227045491826</c:v>
                </c:pt>
                <c:pt idx="89">
                  <c:v>0.98701354271410535</c:v>
                </c:pt>
                <c:pt idx="90">
                  <c:v>1.0043359505929841</c:v>
                </c:pt>
                <c:pt idx="91">
                  <c:v>0.99270447786739691</c:v>
                </c:pt>
                <c:pt idx="92">
                  <c:v>0.98829008079986869</c:v>
                </c:pt>
                <c:pt idx="93">
                  <c:v>0.95378076349814234</c:v>
                </c:pt>
                <c:pt idx="94">
                  <c:v>0.95900815130185491</c:v>
                </c:pt>
                <c:pt idx="95">
                  <c:v>0.95212625603502987</c:v>
                </c:pt>
                <c:pt idx="96">
                  <c:v>0.91838714048337289</c:v>
                </c:pt>
                <c:pt idx="97">
                  <c:v>0.90675566775778582</c:v>
                </c:pt>
                <c:pt idx="98">
                  <c:v>0.9259679225234092</c:v>
                </c:pt>
                <c:pt idx="99">
                  <c:v>0.9278720324055254</c:v>
                </c:pt>
                <c:pt idx="100">
                  <c:v>0.89610834171284304</c:v>
                </c:pt>
                <c:pt idx="101">
                  <c:v>0.91602661474936353</c:v>
                </c:pt>
                <c:pt idx="102">
                  <c:v>0.91397274341584467</c:v>
                </c:pt>
                <c:pt idx="103">
                  <c:v>0.92047666930532079</c:v>
                </c:pt>
                <c:pt idx="104">
                  <c:v>0.946406794890995</c:v>
                </c:pt>
                <c:pt idx="105">
                  <c:v>0.93301384223700812</c:v>
                </c:pt>
                <c:pt idx="106">
                  <c:v>0.93167312067207242</c:v>
                </c:pt>
                <c:pt idx="107">
                  <c:v>0.92572545160209085</c:v>
                </c:pt>
                <c:pt idx="108">
                  <c:v>0.9312737568016658</c:v>
                </c:pt>
                <c:pt idx="109">
                  <c:v>0.9249837758427647</c:v>
                </c:pt>
                <c:pt idx="110">
                  <c:v>0.93651540760075025</c:v>
                </c:pt>
                <c:pt idx="111">
                  <c:v>0.95300343025038681</c:v>
                </c:pt>
                <c:pt idx="112">
                  <c:v>0.95057158953951926</c:v>
                </c:pt>
                <c:pt idx="113">
                  <c:v>0.9542443108477211</c:v>
                </c:pt>
                <c:pt idx="114">
                  <c:v>0.96020624291307421</c:v>
                </c:pt>
                <c:pt idx="115">
                  <c:v>0.95992811450332682</c:v>
                </c:pt>
                <c:pt idx="116">
                  <c:v>0.98074495624826175</c:v>
                </c:pt>
                <c:pt idx="117">
                  <c:v>0.99056502856164819</c:v>
                </c:pt>
                <c:pt idx="118">
                  <c:v>0.99125678383717364</c:v>
                </c:pt>
                <c:pt idx="119">
                  <c:v>0.98035985537322701</c:v>
                </c:pt>
                <c:pt idx="120">
                  <c:v>0.97243676144427083</c:v>
                </c:pt>
                <c:pt idx="121">
                  <c:v>0.9607197107464539</c:v>
                </c:pt>
                <c:pt idx="122">
                  <c:v>0.94859616468054464</c:v>
                </c:pt>
                <c:pt idx="123">
                  <c:v>0.95763177224848983</c:v>
                </c:pt>
                <c:pt idx="124">
                  <c:v>0.97411266340044078</c:v>
                </c:pt>
                <c:pt idx="125">
                  <c:v>0.95769595572766242</c:v>
                </c:pt>
                <c:pt idx="126">
                  <c:v>0.98950956690414549</c:v>
                </c:pt>
                <c:pt idx="127">
                  <c:v>1.0003637063819772</c:v>
                </c:pt>
                <c:pt idx="128">
                  <c:v>1.0251171348494899</c:v>
                </c:pt>
                <c:pt idx="129">
                  <c:v>1.0300093422619683</c:v>
                </c:pt>
                <c:pt idx="130">
                  <c:v>1.0239119117405846</c:v>
                </c:pt>
                <c:pt idx="131">
                  <c:v>1.0085934547114239</c:v>
                </c:pt>
                <c:pt idx="132">
                  <c:v>1.0088359256327419</c:v>
                </c:pt>
                <c:pt idx="133">
                  <c:v>1.0145125977906619</c:v>
                </c:pt>
                <c:pt idx="134">
                  <c:v>1.0020823973242621</c:v>
                </c:pt>
                <c:pt idx="135">
                  <c:v>0.9943447223351376</c:v>
                </c:pt>
                <c:pt idx="136">
                  <c:v>1.0101766471976781</c:v>
                </c:pt>
                <c:pt idx="137">
                  <c:v>1.0141203654179414</c:v>
                </c:pt>
                <c:pt idx="138">
                  <c:v>1.0199254045342063</c:v>
                </c:pt>
                <c:pt idx="139">
                  <c:v>1.0171583834321045</c:v>
                </c:pt>
                <c:pt idx="140">
                  <c:v>1.0229919485391128</c:v>
                </c:pt>
                <c:pt idx="141">
                  <c:v>1.0093779194568653</c:v>
                </c:pt>
                <c:pt idx="142">
                  <c:v>0.97913323777126438</c:v>
                </c:pt>
                <c:pt idx="143">
                  <c:v>0.97398429644209583</c:v>
                </c:pt>
                <c:pt idx="144">
                  <c:v>0.97535354399777496</c:v>
                </c:pt>
                <c:pt idx="145">
                  <c:v>0.98704206870484867</c:v>
                </c:pt>
                <c:pt idx="146">
                  <c:v>1.0029025195581323</c:v>
                </c:pt>
                <c:pt idx="147">
                  <c:v>1.0188200223929027</c:v>
                </c:pt>
                <c:pt idx="148">
                  <c:v>1.0034159873915121</c:v>
                </c:pt>
                <c:pt idx="149">
                  <c:v>1.0068605007737674</c:v>
                </c:pt>
                <c:pt idx="150">
                  <c:v>0.99630588419874055</c:v>
                </c:pt>
                <c:pt idx="151">
                  <c:v>1.0135855030915042</c:v>
                </c:pt>
                <c:pt idx="152">
                  <c:v>1.0262653059769082</c:v>
                </c:pt>
                <c:pt idx="153">
                  <c:v>1.0345948952739565</c:v>
                </c:pt>
                <c:pt idx="154">
                  <c:v>1.0337034580632278</c:v>
                </c:pt>
                <c:pt idx="155">
                  <c:v>1.0386384544618217</c:v>
                </c:pt>
                <c:pt idx="156">
                  <c:v>1.0280695748914228</c:v>
                </c:pt>
                <c:pt idx="157">
                  <c:v>1.0357929868851758</c:v>
                </c:pt>
                <c:pt idx="158">
                  <c:v>1.0430314570362922</c:v>
                </c:pt>
                <c:pt idx="159">
                  <c:v>1.0328690728339858</c:v>
                </c:pt>
                <c:pt idx="160">
                  <c:v>1.0354007545124551</c:v>
                </c:pt>
                <c:pt idx="161">
                  <c:v>1.0299808162712252</c:v>
                </c:pt>
                <c:pt idx="162">
                  <c:v>1.0189127318628184</c:v>
                </c:pt>
                <c:pt idx="163">
                  <c:v>1.0372620754084565</c:v>
                </c:pt>
                <c:pt idx="164">
                  <c:v>1.0318136111764831</c:v>
                </c:pt>
                <c:pt idx="165">
                  <c:v>1.0365631886352453</c:v>
                </c:pt>
                <c:pt idx="166">
                  <c:v>1.0369768155010233</c:v>
                </c:pt>
                <c:pt idx="167">
                  <c:v>1.0330473602761314</c:v>
                </c:pt>
                <c:pt idx="168">
                  <c:v>1.0346448157577572</c:v>
                </c:pt>
                <c:pt idx="169">
                  <c:v>1.024896058421229</c:v>
                </c:pt>
                <c:pt idx="170">
                  <c:v>1.0196758021152021</c:v>
                </c:pt>
                <c:pt idx="171">
                  <c:v>1.0147479372142945</c:v>
                </c:pt>
                <c:pt idx="172">
                  <c:v>1.0264435934190539</c:v>
                </c:pt>
                <c:pt idx="173">
                  <c:v>1.0244539055647077</c:v>
                </c:pt>
                <c:pt idx="174">
                  <c:v>1.0138279740128224</c:v>
                </c:pt>
                <c:pt idx="175">
                  <c:v>1.0376828337719204</c:v>
                </c:pt>
                <c:pt idx="176">
                  <c:v>1.0515963857569728</c:v>
                </c:pt>
                <c:pt idx="177">
                  <c:v>1.05462727227345</c:v>
                </c:pt>
                <c:pt idx="178">
                  <c:v>1.0540710154539554</c:v>
                </c:pt>
                <c:pt idx="179">
                  <c:v>1.054420458840561</c:v>
                </c:pt>
                <c:pt idx="180">
                  <c:v>1.0501843492151786</c:v>
                </c:pt>
                <c:pt idx="181">
                  <c:v>1.0949558916868132</c:v>
                </c:pt>
                <c:pt idx="182">
                  <c:v>1.0913758798485269</c:v>
                </c:pt>
                <c:pt idx="183">
                  <c:v>1.0806358443336685</c:v>
                </c:pt>
                <c:pt idx="184">
                  <c:v>1.0690970810779972</c:v>
                </c:pt>
                <c:pt idx="185">
                  <c:v>1.0692111850409705</c:v>
                </c:pt>
                <c:pt idx="186">
                  <c:v>1.0673356011495976</c:v>
                </c:pt>
                <c:pt idx="187">
                  <c:v>1.0625361032070346</c:v>
                </c:pt>
                <c:pt idx="188">
                  <c:v>1.0573229783986935</c:v>
                </c:pt>
                <c:pt idx="189">
                  <c:v>1.0307724125143523</c:v>
                </c:pt>
                <c:pt idx="190">
                  <c:v>1.0362707972301262</c:v>
                </c:pt>
                <c:pt idx="191">
                  <c:v>1.0399577815336998</c:v>
                </c:pt>
                <c:pt idx="192">
                  <c:v>1.0627429166399236</c:v>
                </c:pt>
                <c:pt idx="193">
                  <c:v>1.0594766906998139</c:v>
                </c:pt>
                <c:pt idx="194">
                  <c:v>1.0501130342383205</c:v>
                </c:pt>
                <c:pt idx="195">
                  <c:v>1.038873793885454</c:v>
                </c:pt>
                <c:pt idx="196">
                  <c:v>1.0537500980580932</c:v>
                </c:pt>
                <c:pt idx="197">
                  <c:v>1.0509046304814473</c:v>
                </c:pt>
                <c:pt idx="198">
                  <c:v>1.0504268201364968</c:v>
                </c:pt>
                <c:pt idx="199">
                  <c:v>1.0418618914158162</c:v>
                </c:pt>
                <c:pt idx="200">
                  <c:v>1.0434236894090128</c:v>
                </c:pt>
                <c:pt idx="201">
                  <c:v>1.0312216968685592</c:v>
                </c:pt>
                <c:pt idx="202">
                  <c:v>1.0293746389679297</c:v>
                </c:pt>
                <c:pt idx="203">
                  <c:v>1.0383959835405032</c:v>
                </c:pt>
                <c:pt idx="204">
                  <c:v>1.0513967038217695</c:v>
                </c:pt>
                <c:pt idx="205">
                  <c:v>1.052088459097295</c:v>
                </c:pt>
                <c:pt idx="206">
                  <c:v>1.0412414511171491</c:v>
                </c:pt>
                <c:pt idx="207">
                  <c:v>1.051838856678291</c:v>
                </c:pt>
                <c:pt idx="208">
                  <c:v>1.0378539897163803</c:v>
                </c:pt>
                <c:pt idx="209">
                  <c:v>1.0352153355726235</c:v>
                </c:pt>
                <c:pt idx="210">
                  <c:v>1.0312145653708735</c:v>
                </c:pt>
                <c:pt idx="211">
                  <c:v>1.022314456258959</c:v>
                </c:pt>
                <c:pt idx="212">
                  <c:v>1.0211591536338547</c:v>
                </c:pt>
                <c:pt idx="213">
                  <c:v>1.0139206834827381</c:v>
                </c:pt>
                <c:pt idx="214">
                  <c:v>1.0167376250686406</c:v>
                </c:pt>
                <c:pt idx="215">
                  <c:v>1.0204531353629576</c:v>
                </c:pt>
                <c:pt idx="216">
                  <c:v>1.0271139542015217</c:v>
                </c:pt>
                <c:pt idx="217">
                  <c:v>1.0315426142644217</c:v>
                </c:pt>
                <c:pt idx="218">
                  <c:v>1.0150688546101565</c:v>
                </c:pt>
                <c:pt idx="219">
                  <c:v>1.0039651127133209</c:v>
                </c:pt>
                <c:pt idx="220">
                  <c:v>0.99935103371058953</c:v>
                </c:pt>
                <c:pt idx="221">
                  <c:v>1.0040435591878651</c:v>
                </c:pt>
                <c:pt idx="222">
                  <c:v>0.97974654657224558</c:v>
                </c:pt>
                <c:pt idx="223">
                  <c:v>0.9785769809517697</c:v>
                </c:pt>
                <c:pt idx="224">
                  <c:v>0.98860386669804523</c:v>
                </c:pt>
                <c:pt idx="225">
                  <c:v>0.98675680879741556</c:v>
                </c:pt>
                <c:pt idx="226">
                  <c:v>0.99738987184698658</c:v>
                </c:pt>
                <c:pt idx="227">
                  <c:v>0.99583520535147596</c:v>
                </c:pt>
                <c:pt idx="228">
                  <c:v>1.0024746296969826</c:v>
                </c:pt>
                <c:pt idx="229">
                  <c:v>1.0002923914051189</c:v>
                </c:pt>
                <c:pt idx="230">
                  <c:v>1.0077875954729254</c:v>
                </c:pt>
                <c:pt idx="231">
                  <c:v>1.0012194861042767</c:v>
                </c:pt>
                <c:pt idx="232">
                  <c:v>0.99475121770322972</c:v>
                </c:pt>
                <c:pt idx="233">
                  <c:v>0.9848170414268701</c:v>
                </c:pt>
                <c:pt idx="234">
                  <c:v>0.99007295522132599</c:v>
                </c:pt>
                <c:pt idx="235">
                  <c:v>1.0026671801345</c:v>
                </c:pt>
                <c:pt idx="236">
                  <c:v>1.0140775764318264</c:v>
                </c:pt>
                <c:pt idx="237">
                  <c:v>1.0068462377783958</c:v>
                </c:pt>
                <c:pt idx="238">
                  <c:v>1.0240616731919872</c:v>
                </c:pt>
                <c:pt idx="239">
                  <c:v>1.025894468097245</c:v>
                </c:pt>
                <c:pt idx="240">
                  <c:v>1.0279839969191931</c:v>
                </c:pt>
                <c:pt idx="241">
                  <c:v>1.0324411829728362</c:v>
                </c:pt>
                <c:pt idx="242">
                  <c:v>1.03294751930853</c:v>
                </c:pt>
                <c:pt idx="243">
                  <c:v>1.0458412671245088</c:v>
                </c:pt>
                <c:pt idx="244">
                  <c:v>1.0432454019668669</c:v>
                </c:pt>
                <c:pt idx="245">
                  <c:v>1.0455845332078191</c:v>
                </c:pt>
                <c:pt idx="246">
                  <c:v>1.0479949794256291</c:v>
                </c:pt>
                <c:pt idx="247">
                  <c:v>1.0565599081463097</c:v>
                </c:pt>
                <c:pt idx="248">
                  <c:v>1.05462727227345</c:v>
                </c:pt>
                <c:pt idx="249">
                  <c:v>1.0613237486004437</c:v>
                </c:pt>
                <c:pt idx="250">
                  <c:v>1.0536359940951199</c:v>
                </c:pt>
                <c:pt idx="251">
                  <c:v>1.0495639089165116</c:v>
                </c:pt>
                <c:pt idx="252">
                  <c:v>1.0508475784999607</c:v>
                </c:pt>
                <c:pt idx="253">
                  <c:v>1.0544703793243617</c:v>
                </c:pt>
                <c:pt idx="254">
                  <c:v>1.0542065139099863</c:v>
                </c:pt>
                <c:pt idx="255">
                  <c:v>1.0516962267245744</c:v>
                </c:pt>
                <c:pt idx="256">
                  <c:v>1.0802935324447487</c:v>
                </c:pt>
                <c:pt idx="257">
                  <c:v>1.0811421806693624</c:v>
                </c:pt>
                <c:pt idx="258">
                  <c:v>1.0748308052174038</c:v>
                </c:pt>
                <c:pt idx="259">
                  <c:v>1.0774551963657888</c:v>
                </c:pt>
                <c:pt idx="260">
                  <c:v>1.0900351582835912</c:v>
                </c:pt>
                <c:pt idx="261">
                  <c:v>1.0806001868452393</c:v>
                </c:pt>
                <c:pt idx="262">
                  <c:v>1.080322058435492</c:v>
                </c:pt>
                <c:pt idx="263">
                  <c:v>1.0866548283805082</c:v>
                </c:pt>
                <c:pt idx="264">
                  <c:v>1.0986428759903868</c:v>
                </c:pt>
                <c:pt idx="265">
                  <c:v>1.0965818731591821</c:v>
                </c:pt>
                <c:pt idx="266">
                  <c:v>1.0878101310056123</c:v>
                </c:pt>
                <c:pt idx="267">
                  <c:v>1.0964606376985231</c:v>
                </c:pt>
                <c:pt idx="268">
                  <c:v>1.0938077205593946</c:v>
                </c:pt>
                <c:pt idx="269">
                  <c:v>1.1011175056873694</c:v>
                </c:pt>
                <c:pt idx="270">
                  <c:v>1.114603167811272</c:v>
                </c:pt>
                <c:pt idx="271">
                  <c:v>1.1052038538613493</c:v>
                </c:pt>
                <c:pt idx="272">
                  <c:v>1.1006967473239055</c:v>
                </c:pt>
                <c:pt idx="273">
                  <c:v>1.1030715360532866</c:v>
                </c:pt>
                <c:pt idx="274">
                  <c:v>1.1033995849468348</c:v>
                </c:pt>
                <c:pt idx="275">
                  <c:v>1.0949344971937556</c:v>
                </c:pt>
                <c:pt idx="276">
                  <c:v>1.0985073775343559</c:v>
                </c:pt>
                <c:pt idx="277">
                  <c:v>1.0913901428438988</c:v>
                </c:pt>
                <c:pt idx="278">
                  <c:v>1.0881809688852757</c:v>
                </c:pt>
                <c:pt idx="279">
                  <c:v>1.0839234647668357</c:v>
                </c:pt>
                <c:pt idx="280">
                  <c:v>1.0810566026971324</c:v>
                </c:pt>
                <c:pt idx="281">
                  <c:v>1.0783038445904023</c:v>
                </c:pt>
                <c:pt idx="282">
                  <c:v>1.0967744235966996</c:v>
                </c:pt>
                <c:pt idx="283">
                  <c:v>1.0834313914265135</c:v>
                </c:pt>
                <c:pt idx="284">
                  <c:v>1.0755510864836724</c:v>
                </c:pt>
                <c:pt idx="285">
                  <c:v>1.077105752979183</c:v>
                </c:pt>
                <c:pt idx="286">
                  <c:v>1.0859060211234961</c:v>
                </c:pt>
                <c:pt idx="287">
                  <c:v>1.0778545602361953</c:v>
                </c:pt>
                <c:pt idx="288">
                  <c:v>1.0652389408299636</c:v>
                </c:pt>
                <c:pt idx="289">
                  <c:v>1.067307075158854</c:v>
                </c:pt>
                <c:pt idx="290">
                  <c:v>1.0723347810273636</c:v>
                </c:pt>
                <c:pt idx="291">
                  <c:v>1.0587920669219744</c:v>
                </c:pt>
                <c:pt idx="292">
                  <c:v>1.0605749413434316</c:v>
                </c:pt>
                <c:pt idx="293">
                  <c:v>1.0597690821049328</c:v>
                </c:pt>
                <c:pt idx="294">
                  <c:v>1.0508547099976466</c:v>
                </c:pt>
                <c:pt idx="295">
                  <c:v>1.0443721786012281</c:v>
                </c:pt>
                <c:pt idx="296">
                  <c:v>1.0584711495261119</c:v>
                </c:pt>
                <c:pt idx="297">
                  <c:v>1.0636557483437097</c:v>
                </c:pt>
                <c:pt idx="298">
                  <c:v>1.0635559073761081</c:v>
                </c:pt>
                <c:pt idx="299">
                  <c:v>1.0726129094371109</c:v>
                </c:pt>
                <c:pt idx="300">
                  <c:v>1.070979796467056</c:v>
                </c:pt>
                <c:pt idx="301">
                  <c:v>1.0671359192143941</c:v>
                </c:pt>
                <c:pt idx="302">
                  <c:v>1.0689901086127098</c:v>
                </c:pt>
                <c:pt idx="303">
                  <c:v>1.0662373505059797</c:v>
                </c:pt>
                <c:pt idx="304">
                  <c:v>1.0432097444784378</c:v>
                </c:pt>
                <c:pt idx="305">
                  <c:v>1.0334966446303389</c:v>
                </c:pt>
                <c:pt idx="306">
                  <c:v>1.0405069068555086</c:v>
                </c:pt>
                <c:pt idx="307">
                  <c:v>1.0406424053115395</c:v>
                </c:pt>
                <c:pt idx="308">
                  <c:v>1.0279055504446488</c:v>
                </c:pt>
                <c:pt idx="309">
                  <c:v>1.0187059184299294</c:v>
                </c:pt>
                <c:pt idx="310">
                  <c:v>1.0105332220819694</c:v>
                </c:pt>
                <c:pt idx="311">
                  <c:v>1.0162384202306327</c:v>
                </c:pt>
                <c:pt idx="312">
                  <c:v>1.0227851351062236</c:v>
                </c:pt>
                <c:pt idx="313">
                  <c:v>1.0259158625903024</c:v>
                </c:pt>
                <c:pt idx="314">
                  <c:v>1.0187130499276154</c:v>
                </c:pt>
                <c:pt idx="315">
                  <c:v>1.020018114004122</c:v>
                </c:pt>
                <c:pt idx="316">
                  <c:v>1.0183350805502664</c:v>
                </c:pt>
                <c:pt idx="317">
                  <c:v>1.0175720102978825</c:v>
                </c:pt>
                <c:pt idx="318">
                  <c:v>1.0103121456537087</c:v>
                </c:pt>
                <c:pt idx="319">
                  <c:v>1.0045071065374438</c:v>
                </c:pt>
                <c:pt idx="320">
                  <c:v>1.0165878636172383</c:v>
                </c:pt>
                <c:pt idx="321">
                  <c:v>1.016594995114924</c:v>
                </c:pt>
                <c:pt idx="322">
                  <c:v>0.99964342511570858</c:v>
                </c:pt>
                <c:pt idx="323">
                  <c:v>0.98831147529292618</c:v>
                </c:pt>
                <c:pt idx="324">
                  <c:v>0.96966260884448341</c:v>
                </c:pt>
                <c:pt idx="325">
                  <c:v>0.96444235253845656</c:v>
                </c:pt>
                <c:pt idx="326">
                  <c:v>0.95268964435221049</c:v>
                </c:pt>
                <c:pt idx="327">
                  <c:v>0.95220470250957401</c:v>
                </c:pt>
                <c:pt idx="328">
                  <c:v>0.954501044764411</c:v>
                </c:pt>
                <c:pt idx="329">
                  <c:v>0.95336713663236405</c:v>
                </c:pt>
                <c:pt idx="330">
                  <c:v>0.9555565064219137</c:v>
                </c:pt>
                <c:pt idx="331">
                  <c:v>0.98201436283633925</c:v>
                </c:pt>
                <c:pt idx="332">
                  <c:v>0.97858411244945553</c:v>
                </c:pt>
                <c:pt idx="333">
                  <c:v>0.97847000848648225</c:v>
                </c:pt>
                <c:pt idx="334">
                  <c:v>0.97171648017800216</c:v>
                </c:pt>
                <c:pt idx="335">
                  <c:v>0.98834000128366961</c:v>
                </c:pt>
                <c:pt idx="336">
                  <c:v>0.98169344544047688</c:v>
                </c:pt>
                <c:pt idx="337">
                  <c:v>1.0041362686577808</c:v>
                </c:pt>
                <c:pt idx="338">
                  <c:v>1.0079872774081284</c:v>
                </c:pt>
                <c:pt idx="339">
                  <c:v>1.019932536031892</c:v>
                </c:pt>
                <c:pt idx="340">
                  <c:v>1.0219008293931808</c:v>
                </c:pt>
                <c:pt idx="341">
                  <c:v>1.0171298574413612</c:v>
                </c:pt>
                <c:pt idx="342">
                  <c:v>1.0101766471976781</c:v>
                </c:pt>
                <c:pt idx="343">
                  <c:v>1.0025174186830976</c:v>
                </c:pt>
                <c:pt idx="344">
                  <c:v>0.99269021487202525</c:v>
                </c:pt>
                <c:pt idx="345">
                  <c:v>0.97961817961390074</c:v>
                </c:pt>
                <c:pt idx="346">
                  <c:v>0.99968621410182346</c:v>
                </c:pt>
                <c:pt idx="347">
                  <c:v>1.0033018834285388</c:v>
                </c:pt>
                <c:pt idx="348">
                  <c:v>1.0148049891957811</c:v>
                </c:pt>
                <c:pt idx="349">
                  <c:v>1.0329403878108443</c:v>
                </c:pt>
                <c:pt idx="350">
                  <c:v>0.99620604323113904</c:v>
                </c:pt>
                <c:pt idx="351">
                  <c:v>0.98477425244075512</c:v>
                </c:pt>
                <c:pt idx="352">
                  <c:v>0.98292719454012534</c:v>
                </c:pt>
                <c:pt idx="353">
                  <c:v>0.99678369454369109</c:v>
                </c:pt>
                <c:pt idx="354">
                  <c:v>0.9709034894418177</c:v>
                </c:pt>
                <c:pt idx="355">
                  <c:v>0.97078225398115858</c:v>
                </c:pt>
                <c:pt idx="356">
                  <c:v>0.96287342304757428</c:v>
                </c:pt>
                <c:pt idx="357">
                  <c:v>0.95376650050277068</c:v>
                </c:pt>
                <c:pt idx="358">
                  <c:v>0.95677599252619039</c:v>
                </c:pt>
                <c:pt idx="359">
                  <c:v>0.94619284996042019</c:v>
                </c:pt>
                <c:pt idx="360">
                  <c:v>0.93916119324219283</c:v>
                </c:pt>
                <c:pt idx="361">
                  <c:v>0.95840197399855953</c:v>
                </c:pt>
                <c:pt idx="362">
                  <c:v>0.95223322850031733</c:v>
                </c:pt>
                <c:pt idx="363">
                  <c:v>0.92802892535461368</c:v>
                </c:pt>
                <c:pt idx="364">
                  <c:v>0.91417955684873387</c:v>
                </c:pt>
                <c:pt idx="365">
                  <c:v>0.92681657074802271</c:v>
                </c:pt>
                <c:pt idx="366">
                  <c:v>0.94511599380986</c:v>
                </c:pt>
                <c:pt idx="367">
                  <c:v>0.95215478202577331</c:v>
                </c:pt>
                <c:pt idx="368">
                  <c:v>0.94390363920326903</c:v>
                </c:pt>
                <c:pt idx="369">
                  <c:v>0.92496238134970721</c:v>
                </c:pt>
                <c:pt idx="370">
                  <c:v>0.92630310291464313</c:v>
                </c:pt>
                <c:pt idx="371">
                  <c:v>0.9201486204117727</c:v>
                </c:pt>
                <c:pt idx="372">
                  <c:v>0.92537600821548527</c:v>
                </c:pt>
                <c:pt idx="373">
                  <c:v>0.94163582293917547</c:v>
                </c:pt>
                <c:pt idx="374">
                  <c:v>0.93652967059612191</c:v>
                </c:pt>
                <c:pt idx="375">
                  <c:v>0.94881724110880528</c:v>
                </c:pt>
                <c:pt idx="376">
                  <c:v>0.95288932628741363</c:v>
                </c:pt>
                <c:pt idx="377">
                  <c:v>0.95413733838243375</c:v>
                </c:pt>
                <c:pt idx="378">
                  <c:v>0.95087824394000975</c:v>
                </c:pt>
                <c:pt idx="379">
                  <c:v>0.96218879926973466</c:v>
                </c:pt>
                <c:pt idx="380">
                  <c:v>0.95756045727163164</c:v>
                </c:pt>
                <c:pt idx="381">
                  <c:v>0.96195345984610237</c:v>
                </c:pt>
                <c:pt idx="382">
                  <c:v>0.95970703807506619</c:v>
                </c:pt>
                <c:pt idx="383">
                  <c:v>0.95113497785669965</c:v>
                </c:pt>
                <c:pt idx="384">
                  <c:v>0.9756673298959514</c:v>
                </c:pt>
                <c:pt idx="385">
                  <c:v>0.99714026942798262</c:v>
                </c:pt>
                <c:pt idx="386">
                  <c:v>1.0009484891922151</c:v>
                </c:pt>
                <c:pt idx="387">
                  <c:v>1.0056124886787474</c:v>
                </c:pt>
                <c:pt idx="388">
                  <c:v>1.0210878386569964</c:v>
                </c:pt>
                <c:pt idx="389">
                  <c:v>1.0102693566675938</c:v>
                </c:pt>
                <c:pt idx="390">
                  <c:v>1.0138636315012517</c:v>
                </c:pt>
                <c:pt idx="391">
                  <c:v>1.0094777604244667</c:v>
                </c:pt>
                <c:pt idx="392">
                  <c:v>1.0107756930032876</c:v>
                </c:pt>
                <c:pt idx="393">
                  <c:v>1.0036941158012596</c:v>
                </c:pt>
                <c:pt idx="394">
                  <c:v>0.99975039758099604</c:v>
                </c:pt>
                <c:pt idx="395">
                  <c:v>1.0006489662894105</c:v>
                </c:pt>
                <c:pt idx="396">
                  <c:v>0.99719732140946915</c:v>
                </c:pt>
                <c:pt idx="397">
                  <c:v>0.98935980545274305</c:v>
                </c:pt>
                <c:pt idx="398">
                  <c:v>0.98114432011866803</c:v>
                </c:pt>
                <c:pt idx="399">
                  <c:v>0.99731142537244244</c:v>
                </c:pt>
                <c:pt idx="400">
                  <c:v>0.99281145033268436</c:v>
                </c:pt>
                <c:pt idx="401">
                  <c:v>0.99252619042525114</c:v>
                </c:pt>
                <c:pt idx="402">
                  <c:v>0.97319983169665469</c:v>
                </c:pt>
                <c:pt idx="403">
                  <c:v>0.9719589510993204</c:v>
                </c:pt>
                <c:pt idx="404">
                  <c:v>0.97158098172197149</c:v>
                </c:pt>
                <c:pt idx="405">
                  <c:v>0.9860864480149476</c:v>
                </c:pt>
                <c:pt idx="406">
                  <c:v>0.99010861270975514</c:v>
                </c:pt>
                <c:pt idx="407">
                  <c:v>1.0040150331971216</c:v>
                </c:pt>
                <c:pt idx="408">
                  <c:v>1.015432560992134</c:v>
                </c:pt>
                <c:pt idx="409">
                  <c:v>0.99225519351318958</c:v>
                </c:pt>
                <c:pt idx="410">
                  <c:v>0.98436775707266277</c:v>
                </c:pt>
                <c:pt idx="411">
                  <c:v>0.98580118810751438</c:v>
                </c:pt>
                <c:pt idx="412">
                  <c:v>0.98220691327385656</c:v>
                </c:pt>
                <c:pt idx="413">
                  <c:v>0.9817219714312202</c:v>
                </c:pt>
                <c:pt idx="414">
                  <c:v>0.99602062429130744</c:v>
                </c:pt>
                <c:pt idx="415">
                  <c:v>0.99356738908738229</c:v>
                </c:pt>
                <c:pt idx="416">
                  <c:v>0.98918151801059739</c:v>
                </c:pt>
                <c:pt idx="417">
                  <c:v>0.98001754348430714</c:v>
                </c:pt>
                <c:pt idx="418">
                  <c:v>0.97675844904188336</c:v>
                </c:pt>
                <c:pt idx="419">
                  <c:v>0.9783630360211949</c:v>
                </c:pt>
                <c:pt idx="420">
                  <c:v>0.97319983169665469</c:v>
                </c:pt>
                <c:pt idx="421">
                  <c:v>0.97525370303017334</c:v>
                </c:pt>
                <c:pt idx="422">
                  <c:v>0.97973941507455975</c:v>
                </c:pt>
                <c:pt idx="423">
                  <c:v>0.98105161064875235</c:v>
                </c:pt>
                <c:pt idx="424">
                  <c:v>1.0143842308323172</c:v>
                </c:pt>
                <c:pt idx="425">
                  <c:v>1.0150973806009</c:v>
                </c:pt>
                <c:pt idx="426">
                  <c:v>1.0351654150888228</c:v>
                </c:pt>
                <c:pt idx="427">
                  <c:v>1.036613109119046</c:v>
                </c:pt>
                <c:pt idx="428">
                  <c:v>1.0370053414917666</c:v>
                </c:pt>
                <c:pt idx="429">
                  <c:v>1.0342311888919793</c:v>
                </c:pt>
                <c:pt idx="430">
                  <c:v>1.0274633975881275</c:v>
                </c:pt>
                <c:pt idx="431">
                  <c:v>1.0486724717057829</c:v>
                </c:pt>
                <c:pt idx="432">
                  <c:v>1.0504910036156694</c:v>
                </c:pt>
                <c:pt idx="433">
                  <c:v>1.0447287534855194</c:v>
                </c:pt>
                <c:pt idx="434">
                  <c:v>1.0605892043388032</c:v>
                </c:pt>
                <c:pt idx="435">
                  <c:v>1.053129657759426</c:v>
                </c:pt>
                <c:pt idx="436">
                  <c:v>1.0466328633676358</c:v>
                </c:pt>
                <c:pt idx="437">
                  <c:v>1.0445647290387454</c:v>
                </c:pt>
                <c:pt idx="438">
                  <c:v>1.0551692660975731</c:v>
                </c:pt>
                <c:pt idx="439">
                  <c:v>1.0591272473132083</c:v>
                </c:pt>
                <c:pt idx="440">
                  <c:v>1.0496780128794849</c:v>
                </c:pt>
                <c:pt idx="441">
                  <c:v>1.0432097444784378</c:v>
                </c:pt>
                <c:pt idx="442">
                  <c:v>1.0495639089165116</c:v>
                </c:pt>
                <c:pt idx="443">
                  <c:v>1.0371265769524258</c:v>
                </c:pt>
                <c:pt idx="444">
                  <c:v>1.0386955064433081</c:v>
                </c:pt>
                <c:pt idx="445">
                  <c:v>1.0513325203425972</c:v>
                </c:pt>
                <c:pt idx="446">
                  <c:v>1.0556042874564087</c:v>
                </c:pt>
                <c:pt idx="447">
                  <c:v>1.0733902426848663</c:v>
                </c:pt>
                <c:pt idx="448">
                  <c:v>1.0704449341406188</c:v>
                </c:pt>
                <c:pt idx="449">
                  <c:v>1.081655648502742</c:v>
                </c:pt>
                <c:pt idx="450">
                  <c:v>1.0790169943589853</c:v>
                </c:pt>
                <c:pt idx="451">
                  <c:v>1.0769987805138956</c:v>
                </c:pt>
                <c:pt idx="452">
                  <c:v>1.0923101060453706</c:v>
                </c:pt>
                <c:pt idx="453">
                  <c:v>1.0922387910685123</c:v>
                </c:pt>
                <c:pt idx="454">
                  <c:v>1.0785106580232915</c:v>
                </c:pt>
                <c:pt idx="455">
                  <c:v>1.0935081976565897</c:v>
                </c:pt>
                <c:pt idx="456">
                  <c:v>1.0936936165964213</c:v>
                </c:pt>
                <c:pt idx="457">
                  <c:v>1.0902348402187942</c:v>
                </c:pt>
                <c:pt idx="458">
                  <c:v>1.0749021201942619</c:v>
                </c:pt>
                <c:pt idx="459">
                  <c:v>1.0714790013050641</c:v>
                </c:pt>
                <c:pt idx="460">
                  <c:v>1.0729195638376015</c:v>
                </c:pt>
                <c:pt idx="461">
                  <c:v>1.0779330067107393</c:v>
                </c:pt>
                <c:pt idx="462">
                  <c:v>1.0812562846323357</c:v>
                </c:pt>
                <c:pt idx="463">
                  <c:v>1.0811350491716765</c:v>
                </c:pt>
                <c:pt idx="464">
                  <c:v>1.0770059120115816</c:v>
                </c:pt>
                <c:pt idx="465">
                  <c:v>1.0805288718683812</c:v>
                </c:pt>
                <c:pt idx="466">
                  <c:v>1.0739607624997325</c:v>
                </c:pt>
                <c:pt idx="467">
                  <c:v>1.069688995385921</c:v>
                </c:pt>
                <c:pt idx="468">
                  <c:v>1.0763212882337418</c:v>
                </c:pt>
                <c:pt idx="469">
                  <c:v>1.0622722377926588</c:v>
                </c:pt>
                <c:pt idx="470">
                  <c:v>1.057929155701989</c:v>
                </c:pt>
                <c:pt idx="471">
                  <c:v>1.0700170442794692</c:v>
                </c:pt>
                <c:pt idx="472">
                  <c:v>1.0460623435527694</c:v>
                </c:pt>
                <c:pt idx="473">
                  <c:v>1.0632278584825601</c:v>
                </c:pt>
                <c:pt idx="474">
                  <c:v>1.0652959928114503</c:v>
                </c:pt>
                <c:pt idx="475">
                  <c:v>1.0772911719190146</c:v>
                </c:pt>
                <c:pt idx="476">
                  <c:v>1.0777047987847928</c:v>
                </c:pt>
                <c:pt idx="477">
                  <c:v>1.0758006889026763</c:v>
                </c:pt>
                <c:pt idx="478">
                  <c:v>1.0654956747466535</c:v>
                </c:pt>
                <c:pt idx="479">
                  <c:v>1.0726485669255399</c:v>
                </c:pt>
                <c:pt idx="480">
                  <c:v>1.0714433438166351</c:v>
                </c:pt>
                <c:pt idx="481">
                  <c:v>1.0585781219913992</c:v>
                </c:pt>
                <c:pt idx="482">
                  <c:v>1.0521954315625826</c:v>
                </c:pt>
                <c:pt idx="483">
                  <c:v>1.0550765566276574</c:v>
                </c:pt>
                <c:pt idx="484">
                  <c:v>1.0549981101531132</c:v>
                </c:pt>
                <c:pt idx="485">
                  <c:v>1.0506550280624434</c:v>
                </c:pt>
                <c:pt idx="486">
                  <c:v>1.033239910713649</c:v>
                </c:pt>
                <c:pt idx="487">
                  <c:v>1.0264079359306248</c:v>
                </c:pt>
                <c:pt idx="488">
                  <c:v>1.0192693067471099</c:v>
                </c:pt>
                <c:pt idx="489">
                  <c:v>1.0331186752529899</c:v>
                </c:pt>
                <c:pt idx="490">
                  <c:v>1.0452636158119566</c:v>
                </c:pt>
                <c:pt idx="491">
                  <c:v>1.0441511021729675</c:v>
                </c:pt>
                <c:pt idx="492">
                  <c:v>1.0445290715503164</c:v>
                </c:pt>
                <c:pt idx="493">
                  <c:v>1.0338817455053735</c:v>
                </c:pt>
                <c:pt idx="494">
                  <c:v>1.0360354578064939</c:v>
                </c:pt>
                <c:pt idx="495">
                  <c:v>1.0484870527659513</c:v>
                </c:pt>
                <c:pt idx="496">
                  <c:v>1.0550266361438567</c:v>
                </c:pt>
                <c:pt idx="497">
                  <c:v>1.0603895224036</c:v>
                </c:pt>
                <c:pt idx="498">
                  <c:v>1.0682912218394984</c:v>
                </c:pt>
                <c:pt idx="499">
                  <c:v>1.0677492280153755</c:v>
                </c:pt>
                <c:pt idx="500">
                  <c:v>1.0750661446410361</c:v>
                </c:pt>
                <c:pt idx="501">
                  <c:v>1.0742959428909666</c:v>
                </c:pt>
                <c:pt idx="502">
                  <c:v>1.0705233806151628</c:v>
                </c:pt>
                <c:pt idx="503">
                  <c:v>1.070772983034167</c:v>
                </c:pt>
                <c:pt idx="504">
                  <c:v>1.0660376685707764</c:v>
                </c:pt>
                <c:pt idx="505">
                  <c:v>1.0726343039301682</c:v>
                </c:pt>
                <c:pt idx="506">
                  <c:v>1.0455845332078191</c:v>
                </c:pt>
                <c:pt idx="507">
                  <c:v>1.0431027720131505</c:v>
                </c:pt>
                <c:pt idx="508">
                  <c:v>1.0448642519415503</c:v>
                </c:pt>
                <c:pt idx="509">
                  <c:v>1.0477525085043111</c:v>
                </c:pt>
                <c:pt idx="510">
                  <c:v>1.0537215720673498</c:v>
                </c:pt>
                <c:pt idx="511">
                  <c:v>1.0480734259001734</c:v>
                </c:pt>
                <c:pt idx="512">
                  <c:v>1.0601042624961667</c:v>
                </c:pt>
                <c:pt idx="513">
                  <c:v>1.0559822568337576</c:v>
                </c:pt>
                <c:pt idx="514">
                  <c:v>1.0603681279105426</c:v>
                </c:pt>
                <c:pt idx="515">
                  <c:v>1.0664156379481253</c:v>
                </c:pt>
                <c:pt idx="516">
                  <c:v>1.0730621937913181</c:v>
                </c:pt>
                <c:pt idx="517">
                  <c:v>1.0688189526682499</c:v>
                </c:pt>
                <c:pt idx="518">
                  <c:v>1.0675138885917432</c:v>
                </c:pt>
                <c:pt idx="519">
                  <c:v>1.0658593811286308</c:v>
                </c:pt>
                <c:pt idx="520">
                  <c:v>1.0541993824123004</c:v>
                </c:pt>
                <c:pt idx="521">
                  <c:v>1.0480235054163725</c:v>
                </c:pt>
                <c:pt idx="522">
                  <c:v>1.0433309799390971</c:v>
                </c:pt>
                <c:pt idx="523">
                  <c:v>1.0434807413904994</c:v>
                </c:pt>
                <c:pt idx="524">
                  <c:v>1.0372406809153991</c:v>
                </c:pt>
                <c:pt idx="525">
                  <c:v>1.0289610121021515</c:v>
                </c:pt>
                <c:pt idx="526">
                  <c:v>1.0277629204909324</c:v>
                </c:pt>
                <c:pt idx="527">
                  <c:v>1.0383460630567025</c:v>
                </c:pt>
                <c:pt idx="528">
                  <c:v>1.0459767655805396</c:v>
                </c:pt>
                <c:pt idx="529">
                  <c:v>1.054377669854446</c:v>
                </c:pt>
                <c:pt idx="530">
                  <c:v>1.0528087403635638</c:v>
                </c:pt>
                <c:pt idx="531">
                  <c:v>1.058007602176533</c:v>
                </c:pt>
                <c:pt idx="532">
                  <c:v>1.0668934482930761</c:v>
                </c:pt>
                <c:pt idx="533">
                  <c:v>1.0544775108220477</c:v>
                </c:pt>
                <c:pt idx="534">
                  <c:v>1.0670004207583634</c:v>
                </c:pt>
                <c:pt idx="535">
                  <c:v>1.0750661446410361</c:v>
                </c:pt>
                <c:pt idx="536">
                  <c:v>1.0727484078931417</c:v>
                </c:pt>
                <c:pt idx="537">
                  <c:v>1.0594552962067563</c:v>
                </c:pt>
                <c:pt idx="538">
                  <c:v>1.0561676757735892</c:v>
                </c:pt>
                <c:pt idx="539">
                  <c:v>1.0609101217346655</c:v>
                </c:pt>
                <c:pt idx="540">
                  <c:v>1.0618871369176242</c:v>
                </c:pt>
                <c:pt idx="541">
                  <c:v>1.0544917738174195</c:v>
                </c:pt>
                <c:pt idx="542">
                  <c:v>1.0479807164302575</c:v>
                </c:pt>
                <c:pt idx="543">
                  <c:v>1.0331400697460473</c:v>
                </c:pt>
                <c:pt idx="544">
                  <c:v>1.0302946021694017</c:v>
                </c:pt>
                <c:pt idx="545">
                  <c:v>0.91911455324732738</c:v>
                </c:pt>
                <c:pt idx="546">
                  <c:v>0.96741618707344723</c:v>
                </c:pt>
                <c:pt idx="547">
                  <c:v>0.96354378383004202</c:v>
                </c:pt>
                <c:pt idx="548">
                  <c:v>0.95418012736854863</c:v>
                </c:pt>
                <c:pt idx="549">
                  <c:v>0.95516427404919302</c:v>
                </c:pt>
                <c:pt idx="550">
                  <c:v>0.93329910214444134</c:v>
                </c:pt>
                <c:pt idx="551">
                  <c:v>0.90870256662601712</c:v>
                </c:pt>
                <c:pt idx="552">
                  <c:v>0.89041027506186565</c:v>
                </c:pt>
                <c:pt idx="553">
                  <c:v>0.88247291813753814</c:v>
                </c:pt>
                <c:pt idx="554">
                  <c:v>0.91547035792986886</c:v>
                </c:pt>
                <c:pt idx="555">
                  <c:v>0.95266824985915288</c:v>
                </c:pt>
                <c:pt idx="556">
                  <c:v>0.94065880775621691</c:v>
                </c:pt>
                <c:pt idx="557">
                  <c:v>0.94171426941371961</c:v>
                </c:pt>
                <c:pt idx="558">
                  <c:v>0.9323292184591685</c:v>
                </c:pt>
                <c:pt idx="559">
                  <c:v>0.92560421614143196</c:v>
                </c:pt>
                <c:pt idx="560">
                  <c:v>0.94452407950193618</c:v>
                </c:pt>
                <c:pt idx="561">
                  <c:v>0.96231716622807961</c:v>
                </c:pt>
                <c:pt idx="562">
                  <c:v>0.94986557126862214</c:v>
                </c:pt>
                <c:pt idx="563">
                  <c:v>0.95855886694764758</c:v>
                </c:pt>
                <c:pt idx="564">
                  <c:v>0.97650884662287918</c:v>
                </c:pt>
                <c:pt idx="565">
                  <c:v>0.98110153113255316</c:v>
                </c:pt>
                <c:pt idx="566">
                  <c:v>0.97938997168795416</c:v>
                </c:pt>
                <c:pt idx="567">
                  <c:v>0.97419110987498481</c:v>
                </c:pt>
                <c:pt idx="568">
                  <c:v>0.98586537158668697</c:v>
                </c:pt>
                <c:pt idx="569">
                  <c:v>0.96260242613551272</c:v>
                </c:pt>
                <c:pt idx="570">
                  <c:v>0.96441382654771324</c:v>
                </c:pt>
                <c:pt idx="571">
                  <c:v>0.96193206535304476</c:v>
                </c:pt>
                <c:pt idx="572">
                  <c:v>0.97538206998851829</c:v>
                </c:pt>
                <c:pt idx="573">
                  <c:v>0.97159524471734315</c:v>
                </c:pt>
                <c:pt idx="574">
                  <c:v>0.95908659777639893</c:v>
                </c:pt>
                <c:pt idx="575">
                  <c:v>0.93494647810986786</c:v>
                </c:pt>
                <c:pt idx="576">
                  <c:v>0.94321188392774358</c:v>
                </c:pt>
                <c:pt idx="577">
                  <c:v>0.94825385279162477</c:v>
                </c:pt>
                <c:pt idx="578">
                  <c:v>0.96741618707344723</c:v>
                </c:pt>
                <c:pt idx="579">
                  <c:v>0.95921496473474388</c:v>
                </c:pt>
                <c:pt idx="580">
                  <c:v>0.95249709391469295</c:v>
                </c:pt>
                <c:pt idx="581">
                  <c:v>0.94785448892121826</c:v>
                </c:pt>
                <c:pt idx="582">
                  <c:v>0.92747980003280484</c:v>
                </c:pt>
                <c:pt idx="583">
                  <c:v>0.91291728175834197</c:v>
                </c:pt>
                <c:pt idx="584">
                  <c:v>0.92647425885910306</c:v>
                </c:pt>
                <c:pt idx="585">
                  <c:v>0.93050355505159632</c:v>
                </c:pt>
                <c:pt idx="586">
                  <c:v>0.93138072926695337</c:v>
                </c:pt>
                <c:pt idx="587">
                  <c:v>0.9305463440377113</c:v>
                </c:pt>
                <c:pt idx="588">
                  <c:v>0.9258752130534933</c:v>
                </c:pt>
                <c:pt idx="589">
                  <c:v>0.94033789036035453</c:v>
                </c:pt>
                <c:pt idx="590">
                  <c:v>0.97236544646741263</c:v>
                </c:pt>
                <c:pt idx="591">
                  <c:v>0.97802785562996086</c:v>
                </c:pt>
                <c:pt idx="592">
                  <c:v>0.98080200822974828</c:v>
                </c:pt>
                <c:pt idx="593">
                  <c:v>0.98791924292020561</c:v>
                </c:pt>
                <c:pt idx="594">
                  <c:v>0.99064347503619221</c:v>
                </c:pt>
                <c:pt idx="595">
                  <c:v>0.98556584868388208</c:v>
                </c:pt>
                <c:pt idx="596">
                  <c:v>0.99291842279797171</c:v>
                </c:pt>
                <c:pt idx="597">
                  <c:v>1.0082868003109333</c:v>
                </c:pt>
                <c:pt idx="598">
                  <c:v>1.0166520470964107</c:v>
                </c:pt>
                <c:pt idx="599">
                  <c:v>1.026864351782518</c:v>
                </c:pt>
                <c:pt idx="600">
                  <c:v>1.0201892699485819</c:v>
                </c:pt>
                <c:pt idx="601">
                  <c:v>1.0262082539954216</c:v>
                </c:pt>
                <c:pt idx="602">
                  <c:v>1.0336107485933119</c:v>
                </c:pt>
                <c:pt idx="603">
                  <c:v>1.010761430007916</c:v>
                </c:pt>
                <c:pt idx="604">
                  <c:v>1.0169159125107865</c:v>
                </c:pt>
                <c:pt idx="605">
                  <c:v>1.0322058435492039</c:v>
                </c:pt>
                <c:pt idx="606">
                  <c:v>1.0212518631037704</c:v>
                </c:pt>
                <c:pt idx="607">
                  <c:v>1.0443864415965998</c:v>
                </c:pt>
                <c:pt idx="608">
                  <c:v>1.0503483736619528</c:v>
                </c:pt>
                <c:pt idx="609">
                  <c:v>1.0524592969769582</c:v>
                </c:pt>
                <c:pt idx="610">
                  <c:v>1.0488293646548712</c:v>
                </c:pt>
                <c:pt idx="611">
                  <c:v>1.0589846173594917</c:v>
                </c:pt>
                <c:pt idx="612">
                  <c:v>1.0593055347553539</c:v>
                </c:pt>
                <c:pt idx="613">
                  <c:v>1.0631708065010732</c:v>
                </c:pt>
                <c:pt idx="614">
                  <c:v>1.070566169601278</c:v>
                </c:pt>
                <c:pt idx="615">
                  <c:v>1.0653958337790519</c:v>
                </c:pt>
                <c:pt idx="616">
                  <c:v>1.0600115530262511</c:v>
                </c:pt>
                <c:pt idx="617">
                  <c:v>1.0656454361980559</c:v>
                </c:pt>
                <c:pt idx="618">
                  <c:v>1.066223087510608</c:v>
                </c:pt>
                <c:pt idx="619">
                  <c:v>1.0599545010447644</c:v>
                </c:pt>
                <c:pt idx="620">
                  <c:v>1.0599545010447644</c:v>
                </c:pt>
                <c:pt idx="621">
                  <c:v>1.0831532630167662</c:v>
                </c:pt>
                <c:pt idx="622">
                  <c:v>1.0568522995514289</c:v>
                </c:pt>
                <c:pt idx="623">
                  <c:v>1.0505979760809567</c:v>
                </c:pt>
                <c:pt idx="624">
                  <c:v>1.0535504161228899</c:v>
                </c:pt>
                <c:pt idx="625">
                  <c:v>1.0528800553404221</c:v>
                </c:pt>
                <c:pt idx="626">
                  <c:v>1.0575440548269543</c:v>
                </c:pt>
                <c:pt idx="627">
                  <c:v>1.0799440890581431</c:v>
                </c:pt>
                <c:pt idx="628">
                  <c:v>1.0800439300257447</c:v>
                </c:pt>
                <c:pt idx="629">
                  <c:v>1.0622579747972871</c:v>
                </c:pt>
                <c:pt idx="630">
                  <c:v>1.0795090676993075</c:v>
                </c:pt>
                <c:pt idx="631">
                  <c:v>1.0816699114981136</c:v>
                </c:pt>
                <c:pt idx="632">
                  <c:v>1.0792665967779893</c:v>
                </c:pt>
                <c:pt idx="633">
                  <c:v>1.066101852049949</c:v>
                </c:pt>
                <c:pt idx="634">
                  <c:v>1.0695962859160051</c:v>
                </c:pt>
                <c:pt idx="635">
                  <c:v>1.0578934982135599</c:v>
                </c:pt>
                <c:pt idx="636">
                  <c:v>1.0524450339815865</c:v>
                </c:pt>
                <c:pt idx="637">
                  <c:v>1.0516962267245744</c:v>
                </c:pt>
                <c:pt idx="638">
                  <c:v>1.0273849511135835</c:v>
                </c:pt>
                <c:pt idx="639">
                  <c:v>1.0144769403022329</c:v>
                </c:pt>
                <c:pt idx="640">
                  <c:v>0.98735585460302522</c:v>
                </c:pt>
                <c:pt idx="641">
                  <c:v>1.0026671801345</c:v>
                </c:pt>
                <c:pt idx="642">
                  <c:v>1.0031022014933355</c:v>
                </c:pt>
                <c:pt idx="643">
                  <c:v>1.0046853939795897</c:v>
                </c:pt>
                <c:pt idx="644">
                  <c:v>0.99014427019818441</c:v>
                </c:pt>
                <c:pt idx="645">
                  <c:v>0.97126719582379495</c:v>
                </c:pt>
                <c:pt idx="646">
                  <c:v>0.97689394749791392</c:v>
                </c:pt>
                <c:pt idx="647">
                  <c:v>0.98567282114916954</c:v>
                </c:pt>
                <c:pt idx="648">
                  <c:v>0.98386855223465475</c:v>
                </c:pt>
                <c:pt idx="649">
                  <c:v>0.98045969634082852</c:v>
                </c:pt>
                <c:pt idx="650">
                  <c:v>0.98341926788044753</c:v>
                </c:pt>
                <c:pt idx="651">
                  <c:v>0.96837893926103424</c:v>
                </c:pt>
                <c:pt idx="652">
                  <c:v>0.95181247013685344</c:v>
                </c:pt>
                <c:pt idx="653">
                  <c:v>0.9510066108983547</c:v>
                </c:pt>
                <c:pt idx="654">
                  <c:v>0.96147564950115172</c:v>
                </c:pt>
                <c:pt idx="655">
                  <c:v>0.9787623998916013</c:v>
                </c:pt>
                <c:pt idx="656">
                  <c:v>0.98000328048893548</c:v>
                </c:pt>
                <c:pt idx="657">
                  <c:v>0.99758955378218972</c:v>
                </c:pt>
                <c:pt idx="658">
                  <c:v>1.0037796937734893</c:v>
                </c:pt>
                <c:pt idx="659">
                  <c:v>1.0111180048922073</c:v>
                </c:pt>
                <c:pt idx="660">
                  <c:v>1.0163667871889777</c:v>
                </c:pt>
                <c:pt idx="661">
                  <c:v>1.0252241073147772</c:v>
                </c:pt>
                <c:pt idx="662">
                  <c:v>1.0322842900237479</c:v>
                </c:pt>
                <c:pt idx="663">
                  <c:v>1.0424466742260543</c:v>
                </c:pt>
                <c:pt idx="664">
                  <c:v>1.0316424552320231</c:v>
                </c:pt>
                <c:pt idx="665">
                  <c:v>1.0373975738644874</c:v>
                </c:pt>
                <c:pt idx="666">
                  <c:v>1.0293033239910714</c:v>
                </c:pt>
                <c:pt idx="667">
                  <c:v>1.0325766814288668</c:v>
                </c:pt>
                <c:pt idx="668">
                  <c:v>1.0153683775129614</c:v>
                </c:pt>
                <c:pt idx="669">
                  <c:v>0.99891601235175398</c:v>
                </c:pt>
                <c:pt idx="670">
                  <c:v>0.99298973777483013</c:v>
                </c:pt>
                <c:pt idx="671">
                  <c:v>0.99865927843506408</c:v>
                </c:pt>
                <c:pt idx="672">
                  <c:v>1.0335608281095112</c:v>
                </c:pt>
                <c:pt idx="673">
                  <c:v>1.0393016837466036</c:v>
                </c:pt>
                <c:pt idx="674">
                  <c:v>1.0516890952268887</c:v>
                </c:pt>
                <c:pt idx="675">
                  <c:v>1.0445932550294887</c:v>
                </c:pt>
                <c:pt idx="676">
                  <c:v>1.0470250957403564</c:v>
                </c:pt>
                <c:pt idx="677">
                  <c:v>1.047296092652418</c:v>
                </c:pt>
                <c:pt idx="678">
                  <c:v>1.0338032990308295</c:v>
                </c:pt>
                <c:pt idx="679">
                  <c:v>1.0401432004735314</c:v>
                </c:pt>
                <c:pt idx="680">
                  <c:v>1.0370552619755675</c:v>
                </c:pt>
                <c:pt idx="681">
                  <c:v>1.0535432846252042</c:v>
                </c:pt>
                <c:pt idx="682">
                  <c:v>1.0336178800909979</c:v>
                </c:pt>
                <c:pt idx="683">
                  <c:v>1.0330901492622466</c:v>
                </c:pt>
                <c:pt idx="684">
                  <c:v>1.0209309457079081</c:v>
                </c:pt>
                <c:pt idx="685">
                  <c:v>1.0075593875469786</c:v>
                </c:pt>
                <c:pt idx="686">
                  <c:v>1.0194119367008265</c:v>
                </c:pt>
                <c:pt idx="687">
                  <c:v>1.0282407308358827</c:v>
                </c:pt>
                <c:pt idx="688">
                  <c:v>1.0241187251734736</c:v>
                </c:pt>
                <c:pt idx="689">
                  <c:v>1.0227993981015953</c:v>
                </c:pt>
                <c:pt idx="690">
                  <c:v>1.0043145560999265</c:v>
                </c:pt>
                <c:pt idx="691">
                  <c:v>1.0063042439542729</c:v>
                </c:pt>
                <c:pt idx="692">
                  <c:v>0.99840254451837429</c:v>
                </c:pt>
                <c:pt idx="693">
                  <c:v>0.98154368398907443</c:v>
                </c:pt>
                <c:pt idx="694">
                  <c:v>0.98746995856599851</c:v>
                </c:pt>
                <c:pt idx="695">
                  <c:v>1.0113533443158398</c:v>
                </c:pt>
                <c:pt idx="696">
                  <c:v>1.0008914372107287</c:v>
                </c:pt>
                <c:pt idx="697">
                  <c:v>0.98397552469994221</c:v>
                </c:pt>
                <c:pt idx="698">
                  <c:v>0.98723461914236599</c:v>
                </c:pt>
                <c:pt idx="699">
                  <c:v>0.97290744029153564</c:v>
                </c:pt>
                <c:pt idx="700">
                  <c:v>0.98694935923493299</c:v>
                </c:pt>
                <c:pt idx="701">
                  <c:v>0.99424488136753608</c:v>
                </c:pt>
                <c:pt idx="702">
                  <c:v>0.98207141481782578</c:v>
                </c:pt>
                <c:pt idx="703">
                  <c:v>0.97011902469637645</c:v>
                </c:pt>
                <c:pt idx="704">
                  <c:v>0.98751274755211338</c:v>
                </c:pt>
                <c:pt idx="705">
                  <c:v>0.98155081548676026</c:v>
                </c:pt>
                <c:pt idx="706">
                  <c:v>0.98653573236915482</c:v>
                </c:pt>
                <c:pt idx="707">
                  <c:v>0.98000328048893548</c:v>
                </c:pt>
                <c:pt idx="708">
                  <c:v>0.97909758028283522</c:v>
                </c:pt>
                <c:pt idx="709">
                  <c:v>0.98442480905414953</c:v>
                </c:pt>
                <c:pt idx="710">
                  <c:v>0.99432332784208011</c:v>
                </c:pt>
                <c:pt idx="711">
                  <c:v>1.009470628926781</c:v>
                </c:pt>
                <c:pt idx="712">
                  <c:v>1.0266361438565712</c:v>
                </c:pt>
                <c:pt idx="713">
                  <c:v>1.0361281672764098</c:v>
                </c:pt>
                <c:pt idx="714">
                  <c:v>1.0615020360425893</c:v>
                </c:pt>
                <c:pt idx="715">
                  <c:v>1.0634418034131348</c:v>
                </c:pt>
                <c:pt idx="716">
                  <c:v>1.0663443229712672</c:v>
                </c:pt>
                <c:pt idx="717">
                  <c:v>1.0679132524621495</c:v>
                </c:pt>
                <c:pt idx="718">
                  <c:v>1.0676636500431456</c:v>
                </c:pt>
                <c:pt idx="719">
                  <c:v>1.0806786333197833</c:v>
                </c:pt>
                <c:pt idx="720">
                  <c:v>1.0802650064540054</c:v>
                </c:pt>
                <c:pt idx="721">
                  <c:v>1.0795875141738516</c:v>
                </c:pt>
                <c:pt idx="722">
                  <c:v>1.0642120051632042</c:v>
                </c:pt>
                <c:pt idx="723">
                  <c:v>1.0702666466984732</c:v>
                </c:pt>
                <c:pt idx="724">
                  <c:v>1.0747880162312886</c:v>
                </c:pt>
                <c:pt idx="725">
                  <c:v>1.0837095198362607</c:v>
                </c:pt>
                <c:pt idx="726">
                  <c:v>1.082539954215785</c:v>
                </c:pt>
                <c:pt idx="727">
                  <c:v>1.0914044058392705</c:v>
                </c:pt>
                <c:pt idx="728">
                  <c:v>1.0974875733652825</c:v>
                </c:pt>
                <c:pt idx="729">
                  <c:v>1.090791097038289</c:v>
                </c:pt>
                <c:pt idx="730">
                  <c:v>1.0908124915313464</c:v>
                </c:pt>
                <c:pt idx="731">
                  <c:v>1.0964178487124081</c:v>
                </c:pt>
                <c:pt idx="732">
                  <c:v>1.0923243690407423</c:v>
                </c:pt>
                <c:pt idx="733">
                  <c:v>1.0937435370802222</c:v>
                </c:pt>
                <c:pt idx="734">
                  <c:v>1.1256213317358779</c:v>
                </c:pt>
                <c:pt idx="735">
                  <c:v>1.1290016616389607</c:v>
                </c:pt>
                <c:pt idx="736">
                  <c:v>1.1459175741497472</c:v>
                </c:pt>
                <c:pt idx="737">
                  <c:v>1.1282599858796345</c:v>
                </c:pt>
                <c:pt idx="738">
                  <c:v>1.0905486261169708</c:v>
                </c:pt>
                <c:pt idx="739">
                  <c:v>1.0563673577087924</c:v>
                </c:pt>
                <c:pt idx="740">
                  <c:v>1.0520528016088659</c:v>
                </c:pt>
                <c:pt idx="741">
                  <c:v>1.060346733417485</c:v>
                </c:pt>
                <c:pt idx="742">
                  <c:v>1.037661439278863</c:v>
                </c:pt>
                <c:pt idx="743">
                  <c:v>1.0409704542050877</c:v>
                </c:pt>
                <c:pt idx="744">
                  <c:v>1.0162312887329468</c:v>
                </c:pt>
                <c:pt idx="745">
                  <c:v>1.0300164737596542</c:v>
                </c:pt>
                <c:pt idx="746">
                  <c:v>1.0082440113248183</c:v>
                </c:pt>
                <c:pt idx="747">
                  <c:v>1.0535147586344609</c:v>
                </c:pt>
                <c:pt idx="748">
                  <c:v>1.0334467241465382</c:v>
                </c:pt>
                <c:pt idx="749">
                  <c:v>1.024853269435114</c:v>
                </c:pt>
                <c:pt idx="750">
                  <c:v>0.99712600643261096</c:v>
                </c:pt>
                <c:pt idx="751">
                  <c:v>0.99947940066893448</c:v>
                </c:pt>
                <c:pt idx="752">
                  <c:v>1.0044999750397581</c:v>
                </c:pt>
                <c:pt idx="753">
                  <c:v>1.0111037418968356</c:v>
                </c:pt>
                <c:pt idx="754">
                  <c:v>1.0219008293931808</c:v>
                </c:pt>
                <c:pt idx="755">
                  <c:v>0.99599209830056401</c:v>
                </c:pt>
                <c:pt idx="756">
                  <c:v>1.0238405967637263</c:v>
                </c:pt>
                <c:pt idx="757">
                  <c:v>1.0559822568337576</c:v>
                </c:pt>
                <c:pt idx="758">
                  <c:v>1.1035208204074938</c:v>
                </c:pt>
                <c:pt idx="759">
                  <c:v>1.0806857648174693</c:v>
                </c:pt>
                <c:pt idx="760">
                  <c:v>1.079152492815016</c:v>
                </c:pt>
                <c:pt idx="761">
                  <c:v>1.0933227787167583</c:v>
                </c:pt>
                <c:pt idx="762">
                  <c:v>1.108562789271375</c:v>
                </c:pt>
                <c:pt idx="763">
                  <c:v>1.1148028497464753</c:v>
                </c:pt>
                <c:pt idx="764">
                  <c:v>1.1349279362158848</c:v>
                </c:pt>
                <c:pt idx="765">
                  <c:v>1.1242092951940839</c:v>
                </c:pt>
                <c:pt idx="766">
                  <c:v>1.1203368919506786</c:v>
                </c:pt>
                <c:pt idx="767">
                  <c:v>1.1539975610277915</c:v>
                </c:pt>
                <c:pt idx="768">
                  <c:v>1.1885068783295178</c:v>
                </c:pt>
                <c:pt idx="769">
                  <c:v>1.1922437831168924</c:v>
                </c:pt>
                <c:pt idx="770">
                  <c:v>1.1712557854274976</c:v>
                </c:pt>
                <c:pt idx="771">
                  <c:v>1.1937556606262882</c:v>
                </c:pt>
                <c:pt idx="772">
                  <c:v>1.1750640051917303</c:v>
                </c:pt>
                <c:pt idx="773">
                  <c:v>1.1693160180569522</c:v>
                </c:pt>
                <c:pt idx="774">
                  <c:v>1.1750497421963586</c:v>
                </c:pt>
                <c:pt idx="775">
                  <c:v>1.1590894503754734</c:v>
                </c:pt>
                <c:pt idx="776">
                  <c:v>1.1798064511528066</c:v>
                </c:pt>
                <c:pt idx="777">
                  <c:v>1.1809902797686542</c:v>
                </c:pt>
                <c:pt idx="778">
                  <c:v>1.2095447965027135</c:v>
                </c:pt>
                <c:pt idx="779">
                  <c:v>1.2518987612588519</c:v>
                </c:pt>
                <c:pt idx="780">
                  <c:v>1.2469780278556299</c:v>
                </c:pt>
                <c:pt idx="781">
                  <c:v>1.2425564992904159</c:v>
                </c:pt>
                <c:pt idx="782">
                  <c:v>1.2577109318728026</c:v>
                </c:pt>
                <c:pt idx="783">
                  <c:v>1.2856664028012523</c:v>
                </c:pt>
                <c:pt idx="784">
                  <c:v>1.3108976416137152</c:v>
                </c:pt>
                <c:pt idx="785">
                  <c:v>1.2840903418126841</c:v>
                </c:pt>
                <c:pt idx="786">
                  <c:v>1.2792623178793778</c:v>
                </c:pt>
                <c:pt idx="787">
                  <c:v>1.2905657417114169</c:v>
                </c:pt>
                <c:pt idx="788">
                  <c:v>1.2821505744421384</c:v>
                </c:pt>
                <c:pt idx="789">
                  <c:v>1.278463590138565</c:v>
                </c:pt>
                <c:pt idx="790">
                  <c:v>1.2638154938918722</c:v>
                </c:pt>
                <c:pt idx="791">
                  <c:v>1.2453235203925177</c:v>
                </c:pt>
                <c:pt idx="792">
                  <c:v>1.2556142715531688</c:v>
                </c:pt>
                <c:pt idx="793">
                  <c:v>1.2544090484442638</c:v>
                </c:pt>
                <c:pt idx="794">
                  <c:v>1.271788508304629</c:v>
                </c:pt>
                <c:pt idx="795">
                  <c:v>1.2891608366673084</c:v>
                </c:pt>
                <c:pt idx="796">
                  <c:v>1.2546800453563252</c:v>
                </c:pt>
                <c:pt idx="797">
                  <c:v>1.2555358250786248</c:v>
                </c:pt>
                <c:pt idx="798">
                  <c:v>1.232715032483972</c:v>
                </c:pt>
                <c:pt idx="799">
                  <c:v>1.1876653616025903</c:v>
                </c:pt>
                <c:pt idx="800">
                  <c:v>1.1920084436932601</c:v>
                </c:pt>
                <c:pt idx="801">
                  <c:v>1.1871804197599538</c:v>
                </c:pt>
                <c:pt idx="802">
                  <c:v>1.1609222452807315</c:v>
                </c:pt>
                <c:pt idx="803">
                  <c:v>1.1480641549531816</c:v>
                </c:pt>
                <c:pt idx="804">
                  <c:v>1.1493763505273742</c:v>
                </c:pt>
                <c:pt idx="805">
                  <c:v>1.1639460002995228</c:v>
                </c:pt>
                <c:pt idx="806">
                  <c:v>1.1467234333882459</c:v>
                </c:pt>
                <c:pt idx="807">
                  <c:v>1.1614642391048544</c:v>
                </c:pt>
                <c:pt idx="808">
                  <c:v>1.1430721065731013</c:v>
                </c:pt>
                <c:pt idx="809">
                  <c:v>1.1543184784236538</c:v>
                </c:pt>
                <c:pt idx="810">
                  <c:v>1.1520934511456751</c:v>
                </c:pt>
                <c:pt idx="811">
                  <c:v>1.1280888299351746</c:v>
                </c:pt>
                <c:pt idx="812">
                  <c:v>1.1207505188164566</c:v>
                </c:pt>
                <c:pt idx="813">
                  <c:v>1.1501964727612446</c:v>
                </c:pt>
                <c:pt idx="814">
                  <c:v>1.1597098906741405</c:v>
                </c:pt>
                <c:pt idx="815">
                  <c:v>1.1851836004079217</c:v>
                </c:pt>
                <c:pt idx="816">
                  <c:v>1.1975496173951492</c:v>
                </c:pt>
                <c:pt idx="817">
                  <c:v>1.1991399413790891</c:v>
                </c:pt>
                <c:pt idx="818">
                  <c:v>1.2128110224428232</c:v>
                </c:pt>
                <c:pt idx="819">
                  <c:v>1.2092452735999089</c:v>
                </c:pt>
                <c:pt idx="820">
                  <c:v>1.2006803448792283</c:v>
                </c:pt>
                <c:pt idx="821">
                  <c:v>1.1892485540888442</c:v>
                </c:pt>
                <c:pt idx="822">
                  <c:v>1.1817034295372371</c:v>
                </c:pt>
                <c:pt idx="823">
                  <c:v>1.1968008101381371</c:v>
                </c:pt>
                <c:pt idx="824">
                  <c:v>1.1748357972657839</c:v>
                </c:pt>
                <c:pt idx="825">
                  <c:v>1.1964513667515315</c:v>
                </c:pt>
                <c:pt idx="826">
                  <c:v>1.20293389814795</c:v>
                </c:pt>
                <c:pt idx="827">
                  <c:v>1.1813967751367465</c:v>
                </c:pt>
                <c:pt idx="828">
                  <c:v>1.2004022164694808</c:v>
                </c:pt>
                <c:pt idx="829">
                  <c:v>1.219657260221219</c:v>
                </c:pt>
                <c:pt idx="830">
                  <c:v>1.1963515257839299</c:v>
                </c:pt>
                <c:pt idx="831">
                  <c:v>1.1857113312366732</c:v>
                </c:pt>
                <c:pt idx="832">
                  <c:v>1.2000171155944459</c:v>
                </c:pt>
                <c:pt idx="833">
                  <c:v>1.1961090548626117</c:v>
                </c:pt>
                <c:pt idx="834">
                  <c:v>1.1965868652075622</c:v>
                </c:pt>
                <c:pt idx="835">
                  <c:v>1.1916661318043402</c:v>
                </c:pt>
                <c:pt idx="836">
                  <c:v>1.2040392802892534</c:v>
                </c:pt>
                <c:pt idx="837">
                  <c:v>1.2279012715460373</c:v>
                </c:pt>
                <c:pt idx="838">
                  <c:v>1.2225597797793515</c:v>
                </c:pt>
                <c:pt idx="839">
                  <c:v>1.2030693966039807</c:v>
                </c:pt>
                <c:pt idx="840">
                  <c:v>1.2184306426192564</c:v>
                </c:pt>
                <c:pt idx="841">
                  <c:v>1.2156493585217831</c:v>
                </c:pt>
                <c:pt idx="842">
                  <c:v>1.1997033296962696</c:v>
                </c:pt>
                <c:pt idx="843">
                  <c:v>1.1963586572816156</c:v>
                </c:pt>
                <c:pt idx="844">
                  <c:v>1.2062643075672321</c:v>
                </c:pt>
                <c:pt idx="845">
                  <c:v>1.197057544054827</c:v>
                </c:pt>
                <c:pt idx="846">
                  <c:v>1.183372199995721</c:v>
                </c:pt>
                <c:pt idx="847">
                  <c:v>1.1673263302026058</c:v>
                </c:pt>
                <c:pt idx="848">
                  <c:v>1.1833508055026636</c:v>
                </c:pt>
                <c:pt idx="849">
                  <c:v>1.1878650435377933</c:v>
                </c:pt>
                <c:pt idx="850">
                  <c:v>1.180548126912133</c:v>
                </c:pt>
                <c:pt idx="851">
                  <c:v>1.1778809467776328</c:v>
                </c:pt>
                <c:pt idx="852">
                  <c:v>1.1845275026208253</c:v>
                </c:pt>
                <c:pt idx="853">
                  <c:v>1.1821313193983867</c:v>
                </c:pt>
                <c:pt idx="854">
                  <c:v>1.147593476105917</c:v>
                </c:pt>
                <c:pt idx="855">
                  <c:v>1.1531203868124345</c:v>
                </c:pt>
                <c:pt idx="856">
                  <c:v>1.1719974611868238</c:v>
                </c:pt>
                <c:pt idx="857">
                  <c:v>1.1616282635516284</c:v>
                </c:pt>
                <c:pt idx="858">
                  <c:v>1.1681892414225912</c:v>
                </c:pt>
                <c:pt idx="859">
                  <c:v>1.1781733381827517</c:v>
                </c:pt>
                <c:pt idx="860">
                  <c:v>1.1744792223814924</c:v>
                </c:pt>
                <c:pt idx="861">
                  <c:v>1.1866883464196316</c:v>
                </c:pt>
                <c:pt idx="862">
                  <c:v>1.1789007509467062</c:v>
                </c:pt>
                <c:pt idx="863">
                  <c:v>1.1782945736434109</c:v>
                </c:pt>
                <c:pt idx="864">
                  <c:v>1.1818959799747544</c:v>
                </c:pt>
                <c:pt idx="865">
                  <c:v>1.1901185968065153</c:v>
                </c:pt>
                <c:pt idx="866">
                  <c:v>1.1871518937692105</c:v>
                </c:pt>
                <c:pt idx="867">
                  <c:v>1.1839284568152157</c:v>
                </c:pt>
                <c:pt idx="868">
                  <c:v>1.1859894596464202</c:v>
                </c:pt>
                <c:pt idx="869">
                  <c:v>1.1922437831168924</c:v>
                </c:pt>
                <c:pt idx="870">
                  <c:v>1.1818531909886396</c:v>
                </c:pt>
                <c:pt idx="871">
                  <c:v>1.1780164452336634</c:v>
                </c:pt>
                <c:pt idx="872">
                  <c:v>1.1638532908296071</c:v>
                </c:pt>
                <c:pt idx="873">
                  <c:v>1.1727391369461502</c:v>
                </c:pt>
                <c:pt idx="874">
                  <c:v>1.1659499511492408</c:v>
                </c:pt>
                <c:pt idx="875">
                  <c:v>1.1799419496088372</c:v>
                </c:pt>
                <c:pt idx="876">
                  <c:v>1.1693516755453812</c:v>
                </c:pt>
                <c:pt idx="877">
                  <c:v>1.1703144277329682</c:v>
                </c:pt>
                <c:pt idx="878">
                  <c:v>1.1636108199082891</c:v>
                </c:pt>
                <c:pt idx="879">
                  <c:v>1.1562083253103983</c:v>
                </c:pt>
                <c:pt idx="880">
                  <c:v>1.1511235674604023</c:v>
                </c:pt>
                <c:pt idx="881">
                  <c:v>1.1374738808897256</c:v>
                </c:pt>
                <c:pt idx="882">
                  <c:v>1.1514444848562646</c:v>
                </c:pt>
                <c:pt idx="883">
                  <c:v>1.158148092680944</c:v>
                </c:pt>
                <c:pt idx="884">
                  <c:v>1.1716836752886475</c:v>
                </c:pt>
                <c:pt idx="885">
                  <c:v>1.1745648003537223</c:v>
                </c:pt>
                <c:pt idx="886">
                  <c:v>1.1704356631936272</c:v>
                </c:pt>
                <c:pt idx="887">
                  <c:v>1.1785441760624147</c:v>
                </c:pt>
                <c:pt idx="888">
                  <c:v>1.1767541701432718</c:v>
                </c:pt>
                <c:pt idx="889">
                  <c:v>1.1601235175399185</c:v>
                </c:pt>
                <c:pt idx="890">
                  <c:v>1.1664919449733639</c:v>
                </c:pt>
                <c:pt idx="891">
                  <c:v>1.166449155987249</c:v>
                </c:pt>
                <c:pt idx="892">
                  <c:v>1.1525498669975682</c:v>
                </c:pt>
                <c:pt idx="893">
                  <c:v>1.1379089022485611</c:v>
                </c:pt>
                <c:pt idx="894">
                  <c:v>1.1302853312224102</c:v>
                </c:pt>
                <c:pt idx="895">
                  <c:v>1.1442488036912632</c:v>
                </c:pt>
                <c:pt idx="896">
                  <c:v>1.1569571325674104</c:v>
                </c:pt>
                <c:pt idx="897">
                  <c:v>1.1672264892350042</c:v>
                </c:pt>
                <c:pt idx="898">
                  <c:v>1.1902469637648603</c:v>
                </c:pt>
                <c:pt idx="899">
                  <c:v>1.1864957959821143</c:v>
                </c:pt>
                <c:pt idx="900">
                  <c:v>1.1941407615013229</c:v>
                </c:pt>
                <c:pt idx="901">
                  <c:v>1.2074124786946505</c:v>
                </c:pt>
                <c:pt idx="902">
                  <c:v>1.1950321987120516</c:v>
                </c:pt>
                <c:pt idx="903">
                  <c:v>1.2055368948032776</c:v>
                </c:pt>
                <c:pt idx="904">
                  <c:v>1.2137951691234676</c:v>
                </c:pt>
                <c:pt idx="905">
                  <c:v>1.2108355975838485</c:v>
                </c:pt>
                <c:pt idx="906">
                  <c:v>1.2106787046347605</c:v>
                </c:pt>
                <c:pt idx="907">
                  <c:v>1.2152856521398059</c:v>
                </c:pt>
                <c:pt idx="908">
                  <c:v>1.2212475842051589</c:v>
                </c:pt>
                <c:pt idx="909">
                  <c:v>1.2180241472511641</c:v>
                </c:pt>
                <c:pt idx="910">
                  <c:v>1.2061074146181439</c:v>
                </c:pt>
                <c:pt idx="911">
                  <c:v>1.193712871640173</c:v>
                </c:pt>
                <c:pt idx="912">
                  <c:v>1.2091953531161079</c:v>
                </c:pt>
                <c:pt idx="913">
                  <c:v>1.1861891415816235</c:v>
                </c:pt>
                <c:pt idx="914">
                  <c:v>1.1653865628320603</c:v>
                </c:pt>
                <c:pt idx="915">
                  <c:v>1.1824950257803641</c:v>
                </c:pt>
                <c:pt idx="916">
                  <c:v>1.1845061081277679</c:v>
                </c:pt>
                <c:pt idx="917">
                  <c:v>1.208945750697104</c:v>
                </c:pt>
                <c:pt idx="918">
                  <c:v>1.2260185561569785</c:v>
                </c:pt>
                <c:pt idx="919">
                  <c:v>1.236009784414825</c:v>
                </c:pt>
                <c:pt idx="920">
                  <c:v>1.2109211755560785</c:v>
                </c:pt>
                <c:pt idx="921">
                  <c:v>1.205807891715339</c:v>
                </c:pt>
                <c:pt idx="922">
                  <c:v>1.2198925996448513</c:v>
                </c:pt>
                <c:pt idx="923">
                  <c:v>1.2110424110167377</c:v>
                </c:pt>
                <c:pt idx="924">
                  <c:v>1.2131961233178581</c:v>
                </c:pt>
                <c:pt idx="925">
                  <c:v>1.2224670703094358</c:v>
                </c:pt>
                <c:pt idx="926">
                  <c:v>1.2283505559002446</c:v>
                </c:pt>
                <c:pt idx="927">
                  <c:v>1.2258331372171469</c:v>
                </c:pt>
                <c:pt idx="928">
                  <c:v>1.2252340914115374</c:v>
                </c:pt>
                <c:pt idx="929">
                  <c:v>1.2335708122062714</c:v>
                </c:pt>
                <c:pt idx="930">
                  <c:v>1.2239504218280881</c:v>
                </c:pt>
                <c:pt idx="931">
                  <c:v>1.2350399007295521</c:v>
                </c:pt>
                <c:pt idx="932">
                  <c:v>1.2331785798335508</c:v>
                </c:pt>
                <c:pt idx="933">
                  <c:v>1.2200851500823686</c:v>
                </c:pt>
                <c:pt idx="934">
                  <c:v>1.2121549246557271</c:v>
                </c:pt>
                <c:pt idx="935">
                  <c:v>1.1868595023640915</c:v>
                </c:pt>
                <c:pt idx="936">
                  <c:v>1.1700648253139643</c:v>
                </c:pt>
                <c:pt idx="937">
                  <c:v>1.1563224292733718</c:v>
                </c:pt>
                <c:pt idx="938">
                  <c:v>1.1693088865592665</c:v>
                </c:pt>
                <c:pt idx="939">
                  <c:v>1.1527067599466563</c:v>
                </c:pt>
                <c:pt idx="940">
                  <c:v>1.1627978291721044</c:v>
                </c:pt>
                <c:pt idx="941">
                  <c:v>1.1716836752886475</c:v>
                </c:pt>
                <c:pt idx="942">
                  <c:v>1.160273278991321</c:v>
                </c:pt>
                <c:pt idx="943">
                  <c:v>1.1499967908260413</c:v>
                </c:pt>
                <c:pt idx="944">
                  <c:v>1.1784585980901849</c:v>
                </c:pt>
                <c:pt idx="945">
                  <c:v>1.1914521868737653</c:v>
                </c:pt>
                <c:pt idx="946">
                  <c:v>1.1977279048372949</c:v>
                </c:pt>
                <c:pt idx="947">
                  <c:v>1.2047381670624648</c:v>
                </c:pt>
                <c:pt idx="948">
                  <c:v>1.2326365860094279</c:v>
                </c:pt>
                <c:pt idx="949">
                  <c:v>1.2199139941379089</c:v>
                </c:pt>
                <c:pt idx="950">
                  <c:v>1.2271952532751402</c:v>
                </c:pt>
                <c:pt idx="951">
                  <c:v>1.2287641827660227</c:v>
                </c:pt>
                <c:pt idx="952">
                  <c:v>1.2351112157064106</c:v>
                </c:pt>
                <c:pt idx="953">
                  <c:v>1.2244781526568393</c:v>
                </c:pt>
                <c:pt idx="954">
                  <c:v>1.2238220548697432</c:v>
                </c:pt>
                <c:pt idx="955">
                  <c:v>1.2284860543562752</c:v>
                </c:pt>
                <c:pt idx="956">
                  <c:v>1.2194433152906443</c:v>
                </c:pt>
                <c:pt idx="957">
                  <c:v>1.2209837187907833</c:v>
                </c:pt>
                <c:pt idx="958">
                  <c:v>1.2305042682013649</c:v>
                </c:pt>
                <c:pt idx="959">
                  <c:v>1.2210051132838409</c:v>
                </c:pt>
                <c:pt idx="960">
                  <c:v>1.2308180540995415</c:v>
                </c:pt>
                <c:pt idx="961">
                  <c:v>1.2313315219329211</c:v>
                </c:pt>
                <c:pt idx="962">
                  <c:v>1.218487694600743</c:v>
                </c:pt>
                <c:pt idx="963">
                  <c:v>1.220577223422691</c:v>
                </c:pt>
                <c:pt idx="964">
                  <c:v>1.2378497108177688</c:v>
                </c:pt>
                <c:pt idx="965">
                  <c:v>1.2577109318728026</c:v>
                </c:pt>
                <c:pt idx="966">
                  <c:v>1.2596221732526047</c:v>
                </c:pt>
                <c:pt idx="967">
                  <c:v>1.2511214280110965</c:v>
                </c:pt>
                <c:pt idx="968">
                  <c:v>1.2490390306868346</c:v>
                </c:pt>
                <c:pt idx="969">
                  <c:v>1.2458298567282116</c:v>
                </c:pt>
                <c:pt idx="970">
                  <c:v>1.2412799612046526</c:v>
                </c:pt>
                <c:pt idx="971">
                  <c:v>1.2408520713435029</c:v>
                </c:pt>
                <c:pt idx="972">
                  <c:v>1.2324440355719104</c:v>
                </c:pt>
                <c:pt idx="973">
                  <c:v>1.2407379673805294</c:v>
                </c:pt>
                <c:pt idx="974">
                  <c:v>1.2745626609044165</c:v>
                </c:pt>
                <c:pt idx="975">
                  <c:v>1.2911433930239689</c:v>
                </c:pt>
                <c:pt idx="976">
                  <c:v>1.2916568608573487</c:v>
                </c:pt>
                <c:pt idx="977">
                  <c:v>1.3027249452657552</c:v>
                </c:pt>
                <c:pt idx="978">
                  <c:v>1.3322136881966582</c:v>
                </c:pt>
                <c:pt idx="979">
                  <c:v>1.2908367386234783</c:v>
                </c:pt>
                <c:pt idx="980">
                  <c:v>1.3075814951898048</c:v>
                </c:pt>
                <c:pt idx="981">
                  <c:v>1.3038517219001162</c:v>
                </c:pt>
                <c:pt idx="982">
                  <c:v>1.2806030394443138</c:v>
                </c:pt>
                <c:pt idx="983">
                  <c:v>1.2630238976487451</c:v>
                </c:pt>
                <c:pt idx="984">
                  <c:v>1.2643931452044244</c:v>
                </c:pt>
                <c:pt idx="985">
                  <c:v>1.2623677998616489</c:v>
                </c:pt>
                <c:pt idx="986">
                  <c:v>1.2745626609044165</c:v>
                </c:pt>
                <c:pt idx="987">
                  <c:v>1.2517347368120779</c:v>
                </c:pt>
                <c:pt idx="988">
                  <c:v>1.2416935880704307</c:v>
                </c:pt>
                <c:pt idx="989">
                  <c:v>1.2257404277472312</c:v>
                </c:pt>
                <c:pt idx="990">
                  <c:v>1.2359527324333381</c:v>
                </c:pt>
                <c:pt idx="991">
                  <c:v>1.2358101024796218</c:v>
                </c:pt>
                <c:pt idx="992">
                  <c:v>1.2268386783908487</c:v>
                </c:pt>
                <c:pt idx="993">
                  <c:v>1.2185590095776013</c:v>
                </c:pt>
                <c:pt idx="994">
                  <c:v>1.2426349457649601</c:v>
                </c:pt>
                <c:pt idx="995">
                  <c:v>1.2513710304301007</c:v>
                </c:pt>
                <c:pt idx="996">
                  <c:v>1.2700983433530877</c:v>
                </c:pt>
                <c:pt idx="997">
                  <c:v>1.2260185561569785</c:v>
                </c:pt>
                <c:pt idx="998">
                  <c:v>1.224413969177667</c:v>
                </c:pt>
                <c:pt idx="999">
                  <c:v>1.2290066536873407</c:v>
                </c:pt>
                <c:pt idx="1000">
                  <c:v>1.2464788230176218</c:v>
                </c:pt>
                <c:pt idx="1001">
                  <c:v>1.2428132332071058</c:v>
                </c:pt>
                <c:pt idx="1002">
                  <c:v>1.2367514601741512</c:v>
                </c:pt>
                <c:pt idx="1003">
                  <c:v>1.2346048793707167</c:v>
                </c:pt>
                <c:pt idx="1004">
                  <c:v>1.2575540389237145</c:v>
                </c:pt>
                <c:pt idx="1005">
                  <c:v>1.2561134763911768</c:v>
                </c:pt>
                <c:pt idx="1006">
                  <c:v>1.2370010625931551</c:v>
                </c:pt>
                <c:pt idx="1007">
                  <c:v>1.2509574035643225</c:v>
                </c:pt>
                <c:pt idx="1008">
                  <c:v>1.2469922908510016</c:v>
                </c:pt>
                <c:pt idx="1009">
                  <c:v>1.1999030116314726</c:v>
                </c:pt>
                <c:pt idx="1010">
                  <c:v>1.205437053835676</c:v>
                </c:pt>
                <c:pt idx="1011">
                  <c:v>1.2015004671130984</c:v>
                </c:pt>
                <c:pt idx="1012">
                  <c:v>1.1986407365410809</c:v>
                </c:pt>
                <c:pt idx="1013">
                  <c:v>1.1470015617979932</c:v>
                </c:pt>
                <c:pt idx="1014">
                  <c:v>1.1570355790419546</c:v>
                </c:pt>
                <c:pt idx="1015">
                  <c:v>1.173530733189277</c:v>
                </c:pt>
                <c:pt idx="1016">
                  <c:v>1.1627122511998746</c:v>
                </c:pt>
                <c:pt idx="1017">
                  <c:v>1.1960876603695543</c:v>
                </c:pt>
                <c:pt idx="1018">
                  <c:v>1.2251770394300507</c:v>
                </c:pt>
                <c:pt idx="1019">
                  <c:v>1.224164366758663</c:v>
                </c:pt>
                <c:pt idx="1020">
                  <c:v>1.2159274869315304</c:v>
                </c:pt>
                <c:pt idx="1021">
                  <c:v>1.2462791410824186</c:v>
                </c:pt>
                <c:pt idx="1022">
                  <c:v>1.2636514694450982</c:v>
                </c:pt>
                <c:pt idx="1023">
                  <c:v>1.27291528493899</c:v>
                </c:pt>
                <c:pt idx="1024">
                  <c:v>1.2645643011488843</c:v>
                </c:pt>
                <c:pt idx="1025">
                  <c:v>1.25390271210857</c:v>
                </c:pt>
                <c:pt idx="1026">
                  <c:v>1.2454090983647474</c:v>
                </c:pt>
                <c:pt idx="1027">
                  <c:v>1.2750618657424246</c:v>
                </c:pt>
                <c:pt idx="1028">
                  <c:v>1.2698273464410259</c:v>
                </c:pt>
                <c:pt idx="1029">
                  <c:v>1.2439257468460951</c:v>
                </c:pt>
                <c:pt idx="1030">
                  <c:v>1.2290137851850267</c:v>
                </c:pt>
                <c:pt idx="1031">
                  <c:v>1.2343410139563409</c:v>
                </c:pt>
                <c:pt idx="1032">
                  <c:v>1.2206128809111201</c:v>
                </c:pt>
                <c:pt idx="1033">
                  <c:v>1.2309250265648288</c:v>
                </c:pt>
                <c:pt idx="1034">
                  <c:v>1.239839398672115</c:v>
                </c:pt>
                <c:pt idx="1035">
                  <c:v>1.250764853126805</c:v>
                </c:pt>
                <c:pt idx="1036">
                  <c:v>1.2624961668199939</c:v>
                </c:pt>
                <c:pt idx="1037">
                  <c:v>1.2888113932807028</c:v>
                </c:pt>
                <c:pt idx="1038">
                  <c:v>1.2789414004835153</c:v>
                </c:pt>
                <c:pt idx="1039">
                  <c:v>1.2766450582286786</c:v>
                </c:pt>
                <c:pt idx="1040">
                  <c:v>1.2996298752701054</c:v>
                </c:pt>
                <c:pt idx="1041">
                  <c:v>1.2817226845809888</c:v>
                </c:pt>
                <c:pt idx="1042">
                  <c:v>1.2864437360490077</c:v>
                </c:pt>
                <c:pt idx="1043">
                  <c:v>1.2956005790776122</c:v>
                </c:pt>
                <c:pt idx="1044">
                  <c:v>1.3123168096531952</c:v>
                </c:pt>
                <c:pt idx="1045">
                  <c:v>1.315169408727527</c:v>
                </c:pt>
                <c:pt idx="1046">
                  <c:v>1.3070894218494826</c:v>
                </c:pt>
                <c:pt idx="1047">
                  <c:v>1.3255243433673507</c:v>
                </c:pt>
                <c:pt idx="1048">
                  <c:v>1.3395020788315755</c:v>
                </c:pt>
                <c:pt idx="1049">
                  <c:v>1.3618094035928485</c:v>
                </c:pt>
                <c:pt idx="1050">
                  <c:v>1.3428610142416009</c:v>
                </c:pt>
                <c:pt idx="1051">
                  <c:v>1.3440234483643911</c:v>
                </c:pt>
                <c:pt idx="1052">
                  <c:v>1.3382540667365552</c:v>
                </c:pt>
                <c:pt idx="1053">
                  <c:v>1.3302453948353694</c:v>
                </c:pt>
                <c:pt idx="1054">
                  <c:v>1.3229356097073945</c:v>
                </c:pt>
                <c:pt idx="1055">
                  <c:v>1.3344458469723226</c:v>
                </c:pt>
                <c:pt idx="1056">
                  <c:v>1.3484164509388616</c:v>
                </c:pt>
                <c:pt idx="1057">
                  <c:v>1.3649829200630423</c:v>
                </c:pt>
                <c:pt idx="1058">
                  <c:v>1.3581937342661332</c:v>
                </c:pt>
                <c:pt idx="1059">
                  <c:v>1.3574591900044928</c:v>
                </c:pt>
                <c:pt idx="1060">
                  <c:v>1.3406431184613081</c:v>
                </c:pt>
                <c:pt idx="1061">
                  <c:v>1.3312152785206421</c:v>
                </c:pt>
                <c:pt idx="1062">
                  <c:v>1.3309014926224656</c:v>
                </c:pt>
                <c:pt idx="1063">
                  <c:v>1.318834998538043</c:v>
                </c:pt>
                <c:pt idx="1064">
                  <c:v>1.3159039529891672</c:v>
                </c:pt>
                <c:pt idx="1065">
                  <c:v>1.3322350826897156</c:v>
                </c:pt>
                <c:pt idx="1066">
                  <c:v>1.3344101894838936</c:v>
                </c:pt>
                <c:pt idx="1067">
                  <c:v>1.3241550958116715</c:v>
                </c:pt>
                <c:pt idx="1068">
                  <c:v>1.3311938840275848</c:v>
                </c:pt>
                <c:pt idx="1069">
                  <c:v>1.3243833037376178</c:v>
                </c:pt>
                <c:pt idx="1070">
                  <c:v>1.3265798050248534</c:v>
                </c:pt>
                <c:pt idx="1071">
                  <c:v>1.3256384473303238</c:v>
                </c:pt>
                <c:pt idx="1072">
                  <c:v>1.3387746660676207</c:v>
                </c:pt>
                <c:pt idx="1073">
                  <c:v>1.3599052937107323</c:v>
                </c:pt>
                <c:pt idx="1074">
                  <c:v>1.3544568294787589</c:v>
                </c:pt>
                <c:pt idx="1075">
                  <c:v>1.3783758727170292</c:v>
                </c:pt>
                <c:pt idx="1076">
                  <c:v>1.366287984139549</c:v>
                </c:pt>
                <c:pt idx="1077">
                  <c:v>1.3605328655070852</c:v>
                </c:pt>
                <c:pt idx="1078">
                  <c:v>1.3497357780107402</c:v>
                </c:pt>
                <c:pt idx="1079">
                  <c:v>1.3764788943325987</c:v>
                </c:pt>
                <c:pt idx="1080">
                  <c:v>1.397901913380829</c:v>
                </c:pt>
                <c:pt idx="1081">
                  <c:v>1.3906991007181417</c:v>
                </c:pt>
                <c:pt idx="1082">
                  <c:v>1.4029510137423959</c:v>
                </c:pt>
                <c:pt idx="1083">
                  <c:v>1.3945429779708036</c:v>
                </c:pt>
                <c:pt idx="1084">
                  <c:v>1.3881816820350441</c:v>
                </c:pt>
                <c:pt idx="1085">
                  <c:v>1.3797807777611375</c:v>
                </c:pt>
                <c:pt idx="1086">
                  <c:v>1.404826597633769</c:v>
                </c:pt>
                <c:pt idx="1087">
                  <c:v>1.3928171555308331</c:v>
                </c:pt>
                <c:pt idx="1088">
                  <c:v>1.3732269313878607</c:v>
                </c:pt>
                <c:pt idx="1089">
                  <c:v>1.3596057708079274</c:v>
                </c:pt>
                <c:pt idx="1090">
                  <c:v>1.3560970739464995</c:v>
                </c:pt>
                <c:pt idx="1091">
                  <c:v>1.3445297847000848</c:v>
                </c:pt>
                <c:pt idx="1092">
                  <c:v>1.3614385657131853</c:v>
                </c:pt>
                <c:pt idx="1093">
                  <c:v>1.3563395448678177</c:v>
                </c:pt>
                <c:pt idx="1094">
                  <c:v>1.3601121071436213</c:v>
                </c:pt>
                <c:pt idx="1095">
                  <c:v>1.365917146259886</c:v>
                </c:pt>
                <c:pt idx="1096">
                  <c:v>1.3614029082247563</c:v>
                </c:pt>
                <c:pt idx="1097">
                  <c:v>1.3672792623178793</c:v>
                </c:pt>
                <c:pt idx="1098">
                  <c:v>1.3489370502699272</c:v>
                </c:pt>
                <c:pt idx="1099">
                  <c:v>1.3488015518138963</c:v>
                </c:pt>
                <c:pt idx="1100">
                  <c:v>1.3324704221133481</c:v>
                </c:pt>
                <c:pt idx="1101">
                  <c:v>1.3436597419824137</c:v>
                </c:pt>
                <c:pt idx="1102">
                  <c:v>1.3540931230967816</c:v>
                </c:pt>
                <c:pt idx="1103">
                  <c:v>1.3651897334959315</c:v>
                </c:pt>
                <c:pt idx="1104">
                  <c:v>1.3746532309250266</c:v>
                </c:pt>
                <c:pt idx="1105">
                  <c:v>1.3803299030829463</c:v>
                </c:pt>
                <c:pt idx="1106">
                  <c:v>1.354278542036613</c:v>
                </c:pt>
                <c:pt idx="1107">
                  <c:v>1.3501208788857748</c:v>
                </c:pt>
                <c:pt idx="1108">
                  <c:v>1.3484093194411757</c:v>
                </c:pt>
                <c:pt idx="1109">
                  <c:v>1.3455995093529591</c:v>
                </c:pt>
                <c:pt idx="1110">
                  <c:v>1.3660669077112884</c:v>
                </c:pt>
                <c:pt idx="1111">
                  <c:v>1.3915406174450695</c:v>
                </c:pt>
                <c:pt idx="1112">
                  <c:v>1.3917474308779587</c:v>
                </c:pt>
                <c:pt idx="1113">
                  <c:v>1.3798877502264251</c:v>
                </c:pt>
                <c:pt idx="1114">
                  <c:v>1.3575590309720944</c:v>
                </c:pt>
                <c:pt idx="1115">
                  <c:v>1.3449434115658629</c:v>
                </c:pt>
                <c:pt idx="1116">
                  <c:v>1.3476747751795355</c:v>
                </c:pt>
                <c:pt idx="1117">
                  <c:v>1.3334331743009349</c:v>
                </c:pt>
                <c:pt idx="1118">
                  <c:v>1.3386320361139041</c:v>
                </c:pt>
                <c:pt idx="1119">
                  <c:v>1.3569100646826839</c:v>
                </c:pt>
                <c:pt idx="1120">
                  <c:v>1.3578514223772133</c:v>
                </c:pt>
                <c:pt idx="1121">
                  <c:v>1.3526311660711867</c:v>
                </c:pt>
                <c:pt idx="1122">
                  <c:v>1.3687269563481026</c:v>
                </c:pt>
                <c:pt idx="1123">
                  <c:v>1.3438665554153029</c:v>
                </c:pt>
                <c:pt idx="1124">
                  <c:v>1.3134293232921845</c:v>
                </c:pt>
                <c:pt idx="1125">
                  <c:v>1.3244831447052194</c:v>
                </c:pt>
                <c:pt idx="1126">
                  <c:v>1.3465337355498028</c:v>
                </c:pt>
                <c:pt idx="1127">
                  <c:v>1.3486303958694366</c:v>
                </c:pt>
                <c:pt idx="1128">
                  <c:v>1.3525741140896999</c:v>
                </c:pt>
                <c:pt idx="1129">
                  <c:v>1.3603189205765103</c:v>
                </c:pt>
                <c:pt idx="1130">
                  <c:v>1.3518752273164887</c:v>
                </c:pt>
                <c:pt idx="1131">
                  <c:v>1.3403079380700742</c:v>
                </c:pt>
                <c:pt idx="1132">
                  <c:v>1.342440255878137</c:v>
                </c:pt>
                <c:pt idx="1133">
                  <c:v>1.3509552641150167</c:v>
                </c:pt>
                <c:pt idx="1134">
                  <c:v>1.3643410852713178</c:v>
                </c:pt>
                <c:pt idx="1135">
                  <c:v>1.3823409854303501</c:v>
                </c:pt>
                <c:pt idx="1136">
                  <c:v>1.3805723740042648</c:v>
                </c:pt>
                <c:pt idx="1137">
                  <c:v>1.3852648994815402</c:v>
                </c:pt>
                <c:pt idx="1138">
                  <c:v>1.3841167283541216</c:v>
                </c:pt>
                <c:pt idx="1139">
                  <c:v>1.3807078724602952</c:v>
                </c:pt>
                <c:pt idx="1140">
                  <c:v>1.3663165101302925</c:v>
                </c:pt>
                <c:pt idx="1141">
                  <c:v>1.3657459903154261</c:v>
                </c:pt>
                <c:pt idx="1142">
                  <c:v>1.3747388088972565</c:v>
                </c:pt>
                <c:pt idx="1143">
                  <c:v>1.3741682890823903</c:v>
                </c:pt>
                <c:pt idx="1144">
                  <c:v>1.3776484599530747</c:v>
                </c:pt>
                <c:pt idx="1145">
                  <c:v>1.3824550893933234</c:v>
                </c:pt>
                <c:pt idx="1146">
                  <c:v>1.3825477988632393</c:v>
                </c:pt>
                <c:pt idx="1147">
                  <c:v>1.3938155652068491</c:v>
                </c:pt>
                <c:pt idx="1148">
                  <c:v>1.3868053029816791</c:v>
                </c:pt>
                <c:pt idx="1149">
                  <c:v>1.3887593333475963</c:v>
                </c:pt>
                <c:pt idx="1150">
                  <c:v>1.3640344308708272</c:v>
                </c:pt>
                <c:pt idx="1151">
                  <c:v>1.3686413783758729</c:v>
                </c:pt>
                <c:pt idx="1152">
                  <c:v>1.3870335109076257</c:v>
                </c:pt>
                <c:pt idx="1153">
                  <c:v>1.3865842265534185</c:v>
                </c:pt>
                <c:pt idx="1154">
                  <c:v>1.3956269656190496</c:v>
                </c:pt>
                <c:pt idx="1155">
                  <c:v>1.3952204702509574</c:v>
                </c:pt>
                <c:pt idx="1156">
                  <c:v>1.3854146609329425</c:v>
                </c:pt>
                <c:pt idx="1157">
                  <c:v>1.3921967152321659</c:v>
                </c:pt>
                <c:pt idx="1158">
                  <c:v>1.4028939617609095</c:v>
                </c:pt>
                <c:pt idx="1159">
                  <c:v>1.4100967744235966</c:v>
                </c:pt>
                <c:pt idx="1160">
                  <c:v>1.4090413127660939</c:v>
                </c:pt>
                <c:pt idx="1161">
                  <c:v>1.4043273927957611</c:v>
                </c:pt>
                <c:pt idx="1162">
                  <c:v>1.404954964592114</c:v>
                </c:pt>
                <c:pt idx="1163">
                  <c:v>1.397573864487281</c:v>
                </c:pt>
                <c:pt idx="1164">
                  <c:v>1.4113875755047316</c:v>
                </c:pt>
                <c:pt idx="1165">
                  <c:v>1.4188185960933655</c:v>
                </c:pt>
                <c:pt idx="1166">
                  <c:v>1.4145967494633547</c:v>
                </c:pt>
                <c:pt idx="1167">
                  <c:v>1.416001654507463</c:v>
                </c:pt>
                <c:pt idx="1168">
                  <c:v>1.4215570912047237</c:v>
                </c:pt>
                <c:pt idx="1169">
                  <c:v>1.4168289082390193</c:v>
                </c:pt>
                <c:pt idx="1170">
                  <c:v>1.4160943639773789</c:v>
                </c:pt>
                <c:pt idx="1171">
                  <c:v>1.40603895224036</c:v>
                </c:pt>
                <c:pt idx="1172">
                  <c:v>1.409832909009221</c:v>
                </c:pt>
                <c:pt idx="1173">
                  <c:v>1.4289881117933576</c:v>
                </c:pt>
                <c:pt idx="1174">
                  <c:v>1.4386940801437711</c:v>
                </c:pt>
                <c:pt idx="1175">
                  <c:v>1.4544903475178821</c:v>
                </c:pt>
                <c:pt idx="1176">
                  <c:v>1.4646313372271311</c:v>
                </c:pt>
                <c:pt idx="1177">
                  <c:v>1.4625061509167541</c:v>
                </c:pt>
                <c:pt idx="1178">
                  <c:v>1.446446018128267</c:v>
                </c:pt>
                <c:pt idx="1179">
                  <c:v>1.4404912175605999</c:v>
                </c:pt>
                <c:pt idx="1180">
                  <c:v>1.4295087111244231</c:v>
                </c:pt>
                <c:pt idx="1181">
                  <c:v>1.4294944481290517</c:v>
                </c:pt>
                <c:pt idx="1182">
                  <c:v>1.4238605649572467</c:v>
                </c:pt>
                <c:pt idx="1183">
                  <c:v>1.4134343153405646</c:v>
                </c:pt>
                <c:pt idx="1184">
                  <c:v>1.417007195681165</c:v>
                </c:pt>
                <c:pt idx="1185">
                  <c:v>1.4204374460680487</c:v>
                </c:pt>
                <c:pt idx="1186">
                  <c:v>1.4246378982050021</c:v>
                </c:pt>
                <c:pt idx="1187">
                  <c:v>1.4443422263109476</c:v>
                </c:pt>
                <c:pt idx="1188">
                  <c:v>1.4347360989281359</c:v>
                </c:pt>
                <c:pt idx="1189">
                  <c:v>1.4248304486425194</c:v>
                </c:pt>
                <c:pt idx="1190">
                  <c:v>1.4088416308308909</c:v>
                </c:pt>
                <c:pt idx="1191">
                  <c:v>1.4125214836367785</c:v>
                </c:pt>
                <c:pt idx="1192">
                  <c:v>1.4235325160636985</c:v>
                </c:pt>
                <c:pt idx="1193">
                  <c:v>1.4106102422569764</c:v>
                </c:pt>
                <c:pt idx="1194">
                  <c:v>1.4168859602205059</c:v>
                </c:pt>
                <c:pt idx="1195">
                  <c:v>1.4156165536324283</c:v>
                </c:pt>
                <c:pt idx="1196">
                  <c:v>1.4090769702545232</c:v>
                </c:pt>
                <c:pt idx="1197">
                  <c:v>1.4148035628962439</c:v>
                </c:pt>
                <c:pt idx="1198">
                  <c:v>1.4120508047895137</c:v>
                </c:pt>
                <c:pt idx="1199">
                  <c:v>1.4270840019112414</c:v>
                </c:pt>
                <c:pt idx="1200">
                  <c:v>1.427312209837188</c:v>
                </c:pt>
                <c:pt idx="1201">
                  <c:v>1.4215570912047237</c:v>
                </c:pt>
                <c:pt idx="1202">
                  <c:v>1.4094478081341861</c:v>
                </c:pt>
                <c:pt idx="1203">
                  <c:v>1.402330573443729</c:v>
                </c:pt>
                <c:pt idx="1204">
                  <c:v>1.3955984396283063</c:v>
                </c:pt>
                <c:pt idx="1205">
                  <c:v>1.4042703408142743</c:v>
                </c:pt>
                <c:pt idx="1206">
                  <c:v>1.4031221696868559</c:v>
                </c:pt>
                <c:pt idx="1207">
                  <c:v>1.3956982805959079</c:v>
                </c:pt>
                <c:pt idx="1208">
                  <c:v>1.3961333019547435</c:v>
                </c:pt>
                <c:pt idx="1209">
                  <c:v>1.3997632342768305</c:v>
                </c:pt>
                <c:pt idx="1210">
                  <c:v>1.4100325909444242</c:v>
                </c:pt>
                <c:pt idx="1211">
                  <c:v>1.4083352944951968</c:v>
                </c:pt>
                <c:pt idx="1212">
                  <c:v>1.4118939118404255</c:v>
                </c:pt>
                <c:pt idx="1213">
                  <c:v>1.413291685386848</c:v>
                </c:pt>
                <c:pt idx="1214">
                  <c:v>1.4189113055632814</c:v>
                </c:pt>
                <c:pt idx="1215">
                  <c:v>1.4240673783901356</c:v>
                </c:pt>
                <c:pt idx="1216">
                  <c:v>1.4040278698929562</c:v>
                </c:pt>
                <c:pt idx="1217">
                  <c:v>1.3997061822953438</c:v>
                </c:pt>
                <c:pt idx="1218">
                  <c:v>1.3925604216141432</c:v>
                </c:pt>
                <c:pt idx="1219">
                  <c:v>1.4034288240873467</c:v>
                </c:pt>
                <c:pt idx="1220">
                  <c:v>1.43455781148599</c:v>
                </c:pt>
                <c:pt idx="1221">
                  <c:v>1.4576995214765052</c:v>
                </c:pt>
                <c:pt idx="1222">
                  <c:v>1.4490632777789665</c:v>
                </c:pt>
                <c:pt idx="1223">
                  <c:v>1.4419817005769382</c:v>
                </c:pt>
                <c:pt idx="1224">
                  <c:v>1.4384658722178245</c:v>
                </c:pt>
                <c:pt idx="1225">
                  <c:v>1.4469238284732178</c:v>
                </c:pt>
                <c:pt idx="1226">
                  <c:v>1.456793821270405</c:v>
                </c:pt>
                <c:pt idx="1227">
                  <c:v>1.4536060418048393</c:v>
                </c:pt>
                <c:pt idx="1228">
                  <c:v>1.4682113490654172</c:v>
                </c:pt>
                <c:pt idx="1229">
                  <c:v>1.4734957888506164</c:v>
                </c:pt>
                <c:pt idx="1230">
                  <c:v>1.4874521298217838</c:v>
                </c:pt>
                <c:pt idx="1231">
                  <c:v>1.4997325688367813</c:v>
                </c:pt>
                <c:pt idx="1232">
                  <c:v>1.4962951869522119</c:v>
                </c:pt>
                <c:pt idx="1233">
                  <c:v>1.4937991627621718</c:v>
                </c:pt>
                <c:pt idx="1234">
                  <c:v>1.4882294630695394</c:v>
                </c:pt>
                <c:pt idx="1235">
                  <c:v>1.5011160793878322</c:v>
                </c:pt>
                <c:pt idx="1236">
                  <c:v>1.5132110994629981</c:v>
                </c:pt>
                <c:pt idx="1237">
                  <c:v>1.5182887258153084</c:v>
                </c:pt>
                <c:pt idx="1238">
                  <c:v>1.5392125400255308</c:v>
                </c:pt>
                <c:pt idx="1239">
                  <c:v>1.534947904409405</c:v>
                </c:pt>
                <c:pt idx="1240">
                  <c:v>1.5407672065210416</c:v>
                </c:pt>
                <c:pt idx="1241">
                  <c:v>1.573935802257832</c:v>
                </c:pt>
                <c:pt idx="1242">
                  <c:v>1.5750126584083926</c:v>
                </c:pt>
                <c:pt idx="1243">
                  <c:v>1.5881060881595743</c:v>
                </c:pt>
                <c:pt idx="1244">
                  <c:v>1.6024617930011482</c:v>
                </c:pt>
                <c:pt idx="1245">
                  <c:v>1.5896464916597135</c:v>
                </c:pt>
                <c:pt idx="1246">
                  <c:v>1.5954800567667216</c:v>
                </c:pt>
                <c:pt idx="1247">
                  <c:v>1.5913295251135691</c:v>
                </c:pt>
                <c:pt idx="1248">
                  <c:v>1.5801188107514459</c:v>
                </c:pt>
                <c:pt idx="1249">
                  <c:v>1.5877281187822254</c:v>
                </c:pt>
                <c:pt idx="1250">
                  <c:v>1.5777226275290073</c:v>
                </c:pt>
                <c:pt idx="1251">
                  <c:v>1.5508440127511178</c:v>
                </c:pt>
                <c:pt idx="1252">
                  <c:v>1.5498028140889868</c:v>
                </c:pt>
                <c:pt idx="1253">
                  <c:v>1.5531403550059548</c:v>
                </c:pt>
                <c:pt idx="1254">
                  <c:v>1.5613914978284589</c:v>
                </c:pt>
                <c:pt idx="1255">
                  <c:v>1.5567916818210992</c:v>
                </c:pt>
                <c:pt idx="1256">
                  <c:v>1.5734437289175098</c:v>
                </c:pt>
                <c:pt idx="1257">
                  <c:v>1.5922637513104125</c:v>
                </c:pt>
                <c:pt idx="1258">
                  <c:v>1.6298538756124172</c:v>
                </c:pt>
                <c:pt idx="1259">
                  <c:v>1.6144997610948275</c:v>
                </c:pt>
                <c:pt idx="1260">
                  <c:v>1.583442088673042</c:v>
                </c:pt>
                <c:pt idx="1261">
                  <c:v>1.5788636671587399</c:v>
                </c:pt>
                <c:pt idx="1262">
                  <c:v>1.5769524257789378</c:v>
                </c:pt>
                <c:pt idx="1263">
                  <c:v>1.5956654757065529</c:v>
                </c:pt>
                <c:pt idx="1264">
                  <c:v>1.582201208075708</c:v>
                </c:pt>
                <c:pt idx="1265">
                  <c:v>1.577487288105375</c:v>
                </c:pt>
                <c:pt idx="1266">
                  <c:v>1.5654992404954964</c:v>
                </c:pt>
                <c:pt idx="1267">
                  <c:v>1.5611347639117692</c:v>
                </c:pt>
                <c:pt idx="1268">
                  <c:v>1.553760795304622</c:v>
                </c:pt>
                <c:pt idx="1269">
                  <c:v>1.5475991813040657</c:v>
                </c:pt>
                <c:pt idx="1270">
                  <c:v>1.5420080871183757</c:v>
                </c:pt>
                <c:pt idx="1271">
                  <c:v>1.5403749741483208</c:v>
                </c:pt>
                <c:pt idx="1272">
                  <c:v>1.5304835868580762</c:v>
                </c:pt>
                <c:pt idx="1273">
                  <c:v>1.5508083552626888</c:v>
                </c:pt>
                <c:pt idx="1274">
                  <c:v>1.5518138964363906</c:v>
                </c:pt>
                <c:pt idx="1275">
                  <c:v>1.5897534641250008</c:v>
                </c:pt>
                <c:pt idx="1276">
                  <c:v>1.616033033097281</c:v>
                </c:pt>
                <c:pt idx="1277">
                  <c:v>1.5932764239818002</c:v>
                </c:pt>
                <c:pt idx="1278">
                  <c:v>1.5813311653580366</c:v>
                </c:pt>
                <c:pt idx="1279">
                  <c:v>1.5915220755510864</c:v>
                </c:pt>
                <c:pt idx="1280">
                  <c:v>1.5814524008186959</c:v>
                </c:pt>
                <c:pt idx="1281">
                  <c:v>1.5879064062243713</c:v>
                </c:pt>
                <c:pt idx="1282">
                  <c:v>1.5764246949501866</c:v>
                </c:pt>
                <c:pt idx="1283">
                  <c:v>1.5823153120386813</c:v>
                </c:pt>
                <c:pt idx="1284">
                  <c:v>1.561519864786804</c:v>
                </c:pt>
                <c:pt idx="1285">
                  <c:v>1.5503733339038532</c:v>
                </c:pt>
                <c:pt idx="1286">
                  <c:v>1.5419652981322607</c:v>
                </c:pt>
                <c:pt idx="1287">
                  <c:v>1.5414660932942525</c:v>
                </c:pt>
                <c:pt idx="1288">
                  <c:v>1.5272102294202805</c:v>
                </c:pt>
                <c:pt idx="1289">
                  <c:v>1.5240581074431441</c:v>
                </c:pt>
                <c:pt idx="1290">
                  <c:v>1.5321880148049891</c:v>
                </c:pt>
                <c:pt idx="1291">
                  <c:v>1.5177324689958138</c:v>
                </c:pt>
                <c:pt idx="1292">
                  <c:v>1.5112285431063379</c:v>
                </c:pt>
                <c:pt idx="1293">
                  <c:v>1.517383025609208</c:v>
                </c:pt>
                <c:pt idx="1294">
                  <c:v>1.5021073575661625</c:v>
                </c:pt>
                <c:pt idx="1295">
                  <c:v>1.4926866491231825</c:v>
                </c:pt>
                <c:pt idx="1296">
                  <c:v>1.4665639730999906</c:v>
                </c:pt>
                <c:pt idx="1297">
                  <c:v>1.4518089043880105</c:v>
                </c:pt>
                <c:pt idx="1298">
                  <c:v>1.4689958138108583</c:v>
                </c:pt>
                <c:pt idx="1299">
                  <c:v>1.4612438758263622</c:v>
                </c:pt>
                <c:pt idx="1300">
                  <c:v>1.4668706275004813</c:v>
                </c:pt>
                <c:pt idx="1301">
                  <c:v>1.4601170991920014</c:v>
                </c:pt>
                <c:pt idx="1302">
                  <c:v>1.4440141774173993</c:v>
                </c:pt>
                <c:pt idx="1303">
                  <c:v>1.4079287991271048</c:v>
                </c:pt>
                <c:pt idx="1304">
                  <c:v>1.4077291171919015</c:v>
                </c:pt>
                <c:pt idx="1305">
                  <c:v>1.4263993781334019</c:v>
                </c:pt>
                <c:pt idx="1306">
                  <c:v>1.4271909743765288</c:v>
                </c:pt>
                <c:pt idx="1307">
                  <c:v>1.4210150973806008</c:v>
                </c:pt>
                <c:pt idx="1308">
                  <c:v>1.4365474993403364</c:v>
                </c:pt>
                <c:pt idx="1309">
                  <c:v>1.4526575526126242</c:v>
                </c:pt>
                <c:pt idx="1310">
                  <c:v>1.4567652952796617</c:v>
                </c:pt>
                <c:pt idx="1311">
                  <c:v>1.4605806465415803</c:v>
                </c:pt>
                <c:pt idx="1312">
                  <c:v>1.4701796424267062</c:v>
                </c:pt>
                <c:pt idx="1313">
                  <c:v>1.4626987013542714</c:v>
                </c:pt>
                <c:pt idx="1314">
                  <c:v>1.454661503462342</c:v>
                </c:pt>
                <c:pt idx="1315">
                  <c:v>1.4356845881203513</c:v>
                </c:pt>
                <c:pt idx="1316">
                  <c:v>1.4495054306354878</c:v>
                </c:pt>
                <c:pt idx="1317">
                  <c:v>1.4432083181789008</c:v>
                </c:pt>
                <c:pt idx="1318">
                  <c:v>1.4419032541023942</c:v>
                </c:pt>
                <c:pt idx="1319">
                  <c:v>1.4233756231146104</c:v>
                </c:pt>
                <c:pt idx="1320">
                  <c:v>1.4324397566732989</c:v>
                </c:pt>
                <c:pt idx="1321">
                  <c:v>1.4446203547206948</c:v>
                </c:pt>
                <c:pt idx="1322">
                  <c:v>1.4664641321323892</c:v>
                </c:pt>
                <c:pt idx="1323">
                  <c:v>1.465301698009599</c:v>
                </c:pt>
                <c:pt idx="1324">
                  <c:v>1.4407265569842322</c:v>
                </c:pt>
                <c:pt idx="1325">
                  <c:v>1.4057822183236701</c:v>
                </c:pt>
                <c:pt idx="1326">
                  <c:v>1.4105745847685474</c:v>
                </c:pt>
                <c:pt idx="1327">
                  <c:v>1.3891301712272595</c:v>
                </c:pt>
                <c:pt idx="1328">
                  <c:v>1.3868623549631658</c:v>
                </c:pt>
                <c:pt idx="1329">
                  <c:v>1.3666017700377255</c:v>
                </c:pt>
                <c:pt idx="1330">
                  <c:v>1.3854503184213716</c:v>
                </c:pt>
                <c:pt idx="1331">
                  <c:v>1.3694543691120571</c:v>
                </c:pt>
                <c:pt idx="1332">
                  <c:v>1.3667515314891281</c:v>
                </c:pt>
                <c:pt idx="1333">
                  <c:v>1.377926588362822</c:v>
                </c:pt>
                <c:pt idx="1334">
                  <c:v>1.3868766179585374</c:v>
                </c:pt>
                <c:pt idx="1335">
                  <c:v>1.4117298873936515</c:v>
                </c:pt>
                <c:pt idx="1336">
                  <c:v>1.4251656290337533</c:v>
                </c:pt>
                <c:pt idx="1337">
                  <c:v>1.4454975289360519</c:v>
                </c:pt>
                <c:pt idx="1338">
                  <c:v>1.4346219949651626</c:v>
                </c:pt>
                <c:pt idx="1339">
                  <c:v>1.4382162697988206</c:v>
                </c:pt>
                <c:pt idx="1340">
                  <c:v>1.445447608452251</c:v>
                </c:pt>
                <c:pt idx="1341">
                  <c:v>1.4217781676329846</c:v>
                </c:pt>
                <c:pt idx="1342">
                  <c:v>1.4254936779273013</c:v>
                </c:pt>
                <c:pt idx="1343">
                  <c:v>1.4280182281080851</c:v>
                </c:pt>
                <c:pt idx="1344">
                  <c:v>1.4464174921375239</c:v>
                </c:pt>
                <c:pt idx="1345">
                  <c:v>1.4281109375780008</c:v>
                </c:pt>
                <c:pt idx="1346">
                  <c:v>1.4224342654200808</c:v>
                </c:pt>
                <c:pt idx="1347">
                  <c:v>1.4285245644437787</c:v>
                </c:pt>
                <c:pt idx="1348">
                  <c:v>1.421264699799605</c:v>
                </c:pt>
                <c:pt idx="1349">
                  <c:v>1.4222702409733068</c:v>
                </c:pt>
                <c:pt idx="1350">
                  <c:v>1.4032362736498292</c:v>
                </c:pt>
                <c:pt idx="1351">
                  <c:v>1.3994851058670832</c:v>
                </c:pt>
                <c:pt idx="1352">
                  <c:v>1.3910057551186323</c:v>
                </c:pt>
                <c:pt idx="1353">
                  <c:v>1.3978876503854576</c:v>
                </c:pt>
                <c:pt idx="1354">
                  <c:v>1.3920540852784493</c:v>
                </c:pt>
                <c:pt idx="1355">
                  <c:v>1.388688018370738</c:v>
                </c:pt>
                <c:pt idx="1356">
                  <c:v>1.3794099398814745</c:v>
                </c:pt>
                <c:pt idx="1357">
                  <c:v>1.3840596763726349</c:v>
                </c:pt>
                <c:pt idx="1358">
                  <c:v>1.3784543191915735</c:v>
                </c:pt>
                <c:pt idx="1359">
                  <c:v>1.3552555572195717</c:v>
                </c:pt>
                <c:pt idx="1360">
                  <c:v>1.3333475963287051</c:v>
                </c:pt>
                <c:pt idx="1361">
                  <c:v>1.3420551550031021</c:v>
                </c:pt>
                <c:pt idx="1362">
                  <c:v>1.3390741889704256</c:v>
                </c:pt>
                <c:pt idx="1363">
                  <c:v>1.3336185932407665</c:v>
                </c:pt>
                <c:pt idx="1364">
                  <c:v>1.3324632906156622</c:v>
                </c:pt>
                <c:pt idx="1365">
                  <c:v>1.3365924277757573</c:v>
                </c:pt>
                <c:pt idx="1366">
                  <c:v>1.3431034851629189</c:v>
                </c:pt>
                <c:pt idx="1367">
                  <c:v>1.3273642697702945</c:v>
                </c:pt>
                <c:pt idx="1368">
                  <c:v>1.3109974825813169</c:v>
                </c:pt>
                <c:pt idx="1369">
                  <c:v>1.2963779123253674</c:v>
                </c:pt>
                <c:pt idx="1370">
                  <c:v>1.3000078446474546</c:v>
                </c:pt>
                <c:pt idx="1371">
                  <c:v>1.3191701789292769</c:v>
                </c:pt>
                <c:pt idx="1372">
                  <c:v>1.325003744036285</c:v>
                </c:pt>
                <c:pt idx="1373">
                  <c:v>1.3199047231909173</c:v>
                </c:pt>
                <c:pt idx="1374">
                  <c:v>1.3264942270526232</c:v>
                </c:pt>
                <c:pt idx="1375">
                  <c:v>1.3317786668378226</c:v>
                </c:pt>
                <c:pt idx="1376">
                  <c:v>1.3267366979739417</c:v>
                </c:pt>
                <c:pt idx="1377">
                  <c:v>1.3399656261811543</c:v>
                </c:pt>
                <c:pt idx="1378">
                  <c:v>1.3492650991634754</c:v>
                </c:pt>
                <c:pt idx="1379">
                  <c:v>1.3414632406951783</c:v>
                </c:pt>
                <c:pt idx="1380">
                  <c:v>1.3403649900515606</c:v>
                </c:pt>
                <c:pt idx="1381">
                  <c:v>1.3568316182081399</c:v>
                </c:pt>
                <c:pt idx="1382">
                  <c:v>1.3673933662808526</c:v>
                </c:pt>
                <c:pt idx="1383">
                  <c:v>1.3702317023598127</c:v>
                </c:pt>
                <c:pt idx="1384">
                  <c:v>1.3715438979340051</c:v>
                </c:pt>
                <c:pt idx="1385">
                  <c:v>1.3638846694194249</c:v>
                </c:pt>
                <c:pt idx="1386">
                  <c:v>1.373341035350834</c:v>
                </c:pt>
                <c:pt idx="1387">
                  <c:v>1.3818275175969705</c:v>
                </c:pt>
                <c:pt idx="1388">
                  <c:v>1.3937727762207341</c:v>
                </c:pt>
                <c:pt idx="1389">
                  <c:v>1.3977093629433117</c:v>
                </c:pt>
                <c:pt idx="1390">
                  <c:v>1.3982656197628065</c:v>
                </c:pt>
                <c:pt idx="1391">
                  <c:v>1.3971388431284453</c:v>
                </c:pt>
                <c:pt idx="1392">
                  <c:v>1.3890089357666004</c:v>
                </c:pt>
                <c:pt idx="1393">
                  <c:v>1.391989901799277</c:v>
                </c:pt>
                <c:pt idx="1394">
                  <c:v>1.3881531560443008</c:v>
                </c:pt>
                <c:pt idx="1395">
                  <c:v>1.3729060139919986</c:v>
                </c:pt>
                <c:pt idx="1396">
                  <c:v>1.3776270654600173</c:v>
                </c:pt>
                <c:pt idx="1397">
                  <c:v>1.3719076043159824</c:v>
                </c:pt>
                <c:pt idx="1398">
                  <c:v>1.3785898176476041</c:v>
                </c:pt>
                <c:pt idx="1399">
                  <c:v>1.3871618778659704</c:v>
                </c:pt>
                <c:pt idx="1400">
                  <c:v>1.3669298189312737</c:v>
                </c:pt>
                <c:pt idx="1401">
                  <c:v>1.3689123752879342</c:v>
                </c:pt>
                <c:pt idx="1402">
                  <c:v>1.3836103920184279</c:v>
                </c:pt>
                <c:pt idx="1403">
                  <c:v>1.4016816071543186</c:v>
                </c:pt>
                <c:pt idx="1404">
                  <c:v>1.4015461086982877</c:v>
                </c:pt>
                <c:pt idx="1405">
                  <c:v>1.3931309414290094</c:v>
                </c:pt>
                <c:pt idx="1406">
                  <c:v>1.4051689095226887</c:v>
                </c:pt>
                <c:pt idx="1407">
                  <c:v>1.4188899110702238</c:v>
                </c:pt>
                <c:pt idx="1408">
                  <c:v>1.4091197592406381</c:v>
                </c:pt>
                <c:pt idx="1409">
                  <c:v>1.3979375708692583</c:v>
                </c:pt>
                <c:pt idx="1410">
                  <c:v>1.3869550644330815</c:v>
                </c:pt>
                <c:pt idx="1411">
                  <c:v>1.3918900608316753</c:v>
                </c:pt>
                <c:pt idx="1412">
                  <c:v>1.3908417306718583</c:v>
                </c:pt>
                <c:pt idx="1413">
                  <c:v>1.3855644223843451</c:v>
                </c:pt>
                <c:pt idx="1414">
                  <c:v>1.3845945386990721</c:v>
                </c:pt>
                <c:pt idx="1415">
                  <c:v>1.376885389700691</c:v>
                </c:pt>
                <c:pt idx="1416">
                  <c:v>1.3818417805923422</c:v>
                </c:pt>
                <c:pt idx="1417">
                  <c:v>1.3887878593383396</c:v>
                </c:pt>
                <c:pt idx="1418">
                  <c:v>1.3967180847649814</c:v>
                </c:pt>
                <c:pt idx="1419">
                  <c:v>1.4074010682983533</c:v>
                </c:pt>
                <c:pt idx="1420">
                  <c:v>1.4114232329931609</c:v>
                </c:pt>
                <c:pt idx="1421">
                  <c:v>1.4171355626395099</c:v>
                </c:pt>
                <c:pt idx="1422">
                  <c:v>1.4185404676836182</c:v>
                </c:pt>
                <c:pt idx="1423">
                  <c:v>1.4326323071108165</c:v>
                </c:pt>
                <c:pt idx="1424">
                  <c:v>1.4421457250237122</c:v>
                </c:pt>
                <c:pt idx="1425">
                  <c:v>1.4341299216248404</c:v>
                </c:pt>
                <c:pt idx="1426">
                  <c:v>1.4286671943974953</c:v>
                </c:pt>
                <c:pt idx="1427">
                  <c:v>1.4291663992355035</c:v>
                </c:pt>
                <c:pt idx="1428">
                  <c:v>1.4367115237871104</c:v>
                </c:pt>
                <c:pt idx="1429">
                  <c:v>1.4335522703122883</c:v>
                </c:pt>
                <c:pt idx="1430">
                  <c:v>1.4496551920868901</c:v>
                </c:pt>
                <c:pt idx="1431">
                  <c:v>1.4577708364533637</c:v>
                </c:pt>
                <c:pt idx="1432">
                  <c:v>1.4682327435584748</c:v>
                </c:pt>
                <c:pt idx="1433">
                  <c:v>1.4649451231253077</c:v>
                </c:pt>
                <c:pt idx="1434">
                  <c:v>1.4635616125742568</c:v>
                </c:pt>
                <c:pt idx="1435">
                  <c:v>1.4646741262132459</c:v>
                </c:pt>
                <c:pt idx="1436">
                  <c:v>1.4684324254936778</c:v>
                </c:pt>
                <c:pt idx="1437">
                  <c:v>1.4612367443286762</c:v>
                </c:pt>
                <c:pt idx="1438">
                  <c:v>1.4673270433523746</c:v>
                </c:pt>
                <c:pt idx="1439">
                  <c:v>1.4692596792252339</c:v>
                </c:pt>
                <c:pt idx="1440">
                  <c:v>1.4631194597177353</c:v>
                </c:pt>
                <c:pt idx="1441">
                  <c:v>1.4755853176725644</c:v>
                </c:pt>
                <c:pt idx="1442">
                  <c:v>1.4770258802051019</c:v>
                </c:pt>
                <c:pt idx="1443">
                  <c:v>1.484150246393245</c:v>
                </c:pt>
                <c:pt idx="1444">
                  <c:v>1.477389586587079</c:v>
                </c:pt>
                <c:pt idx="1445">
                  <c:v>1.4813475678027144</c:v>
                </c:pt>
                <c:pt idx="1446">
                  <c:v>1.4802992376428972</c:v>
                </c:pt>
                <c:pt idx="1447">
                  <c:v>1.4810765708906526</c:v>
                </c:pt>
                <c:pt idx="1448">
                  <c:v>1.4812762528258561</c:v>
                </c:pt>
                <c:pt idx="1449">
                  <c:v>1.4892849247270421</c:v>
                </c:pt>
                <c:pt idx="1450">
                  <c:v>1.4932357744449913</c:v>
                </c:pt>
                <c:pt idx="1451">
                  <c:v>1.4949687283826476</c:v>
                </c:pt>
                <c:pt idx="1452">
                  <c:v>1.4882793835533399</c:v>
                </c:pt>
                <c:pt idx="1453">
                  <c:v>1.4983775842764739</c:v>
                </c:pt>
                <c:pt idx="1454">
                  <c:v>1.4940202391904325</c:v>
                </c:pt>
                <c:pt idx="1455">
                  <c:v>1.4967373398087331</c:v>
                </c:pt>
                <c:pt idx="1456">
                  <c:v>1.5021715410453349</c:v>
                </c:pt>
                <c:pt idx="1457">
                  <c:v>1.4923158112435193</c:v>
                </c:pt>
                <c:pt idx="1458">
                  <c:v>1.493620875320026</c:v>
                </c:pt>
                <c:pt idx="1459">
                  <c:v>1.4781669198348346</c:v>
                </c:pt>
                <c:pt idx="1460">
                  <c:v>1.4775250850431099</c:v>
                </c:pt>
                <c:pt idx="1461">
                  <c:v>1.4718056238990749</c:v>
                </c:pt>
                <c:pt idx="1462">
                  <c:v>1.4703650613665376</c:v>
                </c:pt>
                <c:pt idx="1463">
                  <c:v>1.461586187715282</c:v>
                </c:pt>
                <c:pt idx="1464">
                  <c:v>1.4595964998609359</c:v>
                </c:pt>
                <c:pt idx="1465">
                  <c:v>1.4753357152535604</c:v>
                </c:pt>
                <c:pt idx="1466">
                  <c:v>1.4728325595658345</c:v>
                </c:pt>
                <c:pt idx="1467">
                  <c:v>1.4721621987833664</c:v>
                </c:pt>
                <c:pt idx="1468">
                  <c:v>1.4852984175206636</c:v>
                </c:pt>
                <c:pt idx="1469">
                  <c:v>1.4783879962630952</c:v>
                </c:pt>
                <c:pt idx="1470">
                  <c:v>1.4841716408863026</c:v>
                </c:pt>
                <c:pt idx="1471">
                  <c:v>1.5372299836688703</c:v>
                </c:pt>
                <c:pt idx="1472">
                  <c:v>1.5425500809424988</c:v>
                </c:pt>
                <c:pt idx="1473">
                  <c:v>1.5572409661753066</c:v>
                </c:pt>
                <c:pt idx="1474">
                  <c:v>1.5470072669961421</c:v>
                </c:pt>
                <c:pt idx="1475">
                  <c:v>1.5458448328733518</c:v>
                </c:pt>
                <c:pt idx="1476">
                  <c:v>1.5452743130584854</c:v>
                </c:pt>
                <c:pt idx="1477">
                  <c:v>1.5202570191765972</c:v>
                </c:pt>
                <c:pt idx="1478">
                  <c:v>1.5208988539683219</c:v>
                </c:pt>
                <c:pt idx="1479">
                  <c:v>1.5203711231395705</c:v>
                </c:pt>
                <c:pt idx="1480">
                  <c:v>1.5192871354913244</c:v>
                </c:pt>
                <c:pt idx="1481">
                  <c:v>1.5374225341063879</c:v>
                </c:pt>
                <c:pt idx="1482">
                  <c:v>1.5405176041020374</c:v>
                </c:pt>
                <c:pt idx="1483">
                  <c:v>1.5322450667864758</c:v>
                </c:pt>
                <c:pt idx="1484">
                  <c:v>1.5412378853683062</c:v>
                </c:pt>
                <c:pt idx="1485">
                  <c:v>1.5303266939089877</c:v>
                </c:pt>
                <c:pt idx="1486">
                  <c:v>1.5328797700805146</c:v>
                </c:pt>
                <c:pt idx="1487">
                  <c:v>1.5147871604515664</c:v>
                </c:pt>
                <c:pt idx="1488">
                  <c:v>1.4980566668806115</c:v>
                </c:pt>
                <c:pt idx="1489">
                  <c:v>1.5018862811379017</c:v>
                </c:pt>
                <c:pt idx="1490">
                  <c:v>1.5114638825299702</c:v>
                </c:pt>
                <c:pt idx="1491">
                  <c:v>1.5073775343559901</c:v>
                </c:pt>
                <c:pt idx="1492">
                  <c:v>1.5148156864423097</c:v>
                </c:pt>
                <c:pt idx="1493">
                  <c:v>1.4998609357951265</c:v>
                </c:pt>
                <c:pt idx="1494">
                  <c:v>1.5011731313693186</c:v>
                </c:pt>
                <c:pt idx="1495">
                  <c:v>1.5322735927772191</c:v>
                </c:pt>
                <c:pt idx="1496">
                  <c:v>1.5409383624655013</c:v>
                </c:pt>
                <c:pt idx="1497">
                  <c:v>1.5203925176326281</c:v>
                </c:pt>
                <c:pt idx="1498">
                  <c:v>1.53499069339552</c:v>
                </c:pt>
                <c:pt idx="1499">
                  <c:v>1.5289859723440518</c:v>
                </c:pt>
                <c:pt idx="1500">
                  <c:v>1.5222752330216869</c:v>
                </c:pt>
                <c:pt idx="1501">
                  <c:v>1.5105653138215556</c:v>
                </c:pt>
                <c:pt idx="1502">
                  <c:v>1.4997325688367813</c:v>
                </c:pt>
                <c:pt idx="1503">
                  <c:v>1.4928934625560715</c:v>
                </c:pt>
                <c:pt idx="1504">
                  <c:v>1.4997111743437239</c:v>
                </c:pt>
                <c:pt idx="1505">
                  <c:v>1.5012230518531196</c:v>
                </c:pt>
                <c:pt idx="1506">
                  <c:v>1.4954964592113991</c:v>
                </c:pt>
                <c:pt idx="1507">
                  <c:v>1.5020146480962466</c:v>
                </c:pt>
                <c:pt idx="1508">
                  <c:v>1.4996755168552947</c:v>
                </c:pt>
                <c:pt idx="1509">
                  <c:v>1.5045605927700876</c:v>
                </c:pt>
                <c:pt idx="1510">
                  <c:v>1.5353900572659263</c:v>
                </c:pt>
                <c:pt idx="1511">
                  <c:v>1.5672179314377812</c:v>
                </c:pt>
                <c:pt idx="1512">
                  <c:v>1.5742139306675793</c:v>
                </c:pt>
                <c:pt idx="1513">
                  <c:v>1.5870363635067</c:v>
                </c:pt>
                <c:pt idx="1514">
                  <c:v>1.5919428339145503</c:v>
                </c:pt>
                <c:pt idx="1515">
                  <c:v>1.6020552976330558</c:v>
                </c:pt>
                <c:pt idx="1516">
                  <c:v>1.6134157734465815</c:v>
                </c:pt>
                <c:pt idx="1517">
                  <c:v>1.6128095961432862</c:v>
                </c:pt>
                <c:pt idx="1518">
                  <c:v>1.6102137309856441</c:v>
                </c:pt>
                <c:pt idx="1519">
                  <c:v>1.6244767263573021</c:v>
                </c:pt>
                <c:pt idx="1520">
                  <c:v>1.6384401988261552</c:v>
                </c:pt>
                <c:pt idx="1521">
                  <c:v>1.630495710404142</c:v>
                </c:pt>
                <c:pt idx="1522">
                  <c:v>1.6463846872481691</c:v>
                </c:pt>
                <c:pt idx="1523">
                  <c:v>1.6394956604836579</c:v>
                </c:pt>
                <c:pt idx="1524">
                  <c:v>1.6452293846230646</c:v>
                </c:pt>
                <c:pt idx="1525">
                  <c:v>1.6545288576053858</c:v>
                </c:pt>
                <c:pt idx="1526">
                  <c:v>1.6368641378375874</c:v>
                </c:pt>
                <c:pt idx="1527">
                  <c:v>1.6290266218808611</c:v>
                </c:pt>
                <c:pt idx="1528">
                  <c:v>1.6262382062857021</c:v>
                </c:pt>
                <c:pt idx="1529">
                  <c:v>1.6331058385571553</c:v>
                </c:pt>
                <c:pt idx="1530">
                  <c:v>1.6420772626459283</c:v>
                </c:pt>
                <c:pt idx="1531">
                  <c:v>1.6272936679432048</c:v>
                </c:pt>
                <c:pt idx="1532">
                  <c:v>1.623735050597976</c:v>
                </c:pt>
                <c:pt idx="1533">
                  <c:v>1.5962003380329901</c:v>
                </c:pt>
                <c:pt idx="1534">
                  <c:v>1.6078959942377498</c:v>
                </c:pt>
                <c:pt idx="1535">
                  <c:v>1.5883556905785783</c:v>
                </c:pt>
                <c:pt idx="1536">
                  <c:v>1.5668756195488613</c:v>
                </c:pt>
                <c:pt idx="1537">
                  <c:v>1.583278064226268</c:v>
                </c:pt>
                <c:pt idx="1538">
                  <c:v>1.6050362636657325</c:v>
                </c:pt>
                <c:pt idx="1539">
                  <c:v>1.6102565199717591</c:v>
                </c:pt>
                <c:pt idx="1540">
                  <c:v>1.6156051432361309</c:v>
                </c:pt>
                <c:pt idx="1541">
                  <c:v>1.608345278591957</c:v>
                </c:pt>
                <c:pt idx="1542">
                  <c:v>1.608095676172953</c:v>
                </c:pt>
                <c:pt idx="1543">
                  <c:v>1.618935552655413</c:v>
                </c:pt>
                <c:pt idx="1544">
                  <c:v>1.6547356710382748</c:v>
                </c:pt>
                <c:pt idx="1545">
                  <c:v>1.6665026422198927</c:v>
                </c:pt>
                <c:pt idx="1546">
                  <c:v>1.678155509438537</c:v>
                </c:pt>
                <c:pt idx="1547">
                  <c:v>1.6701183115466078</c:v>
                </c:pt>
                <c:pt idx="1548">
                  <c:v>1.6379623884812051</c:v>
                </c:pt>
                <c:pt idx="1549">
                  <c:v>1.6387468532266463</c:v>
                </c:pt>
                <c:pt idx="1550">
                  <c:v>1.6322857163232851</c:v>
                </c:pt>
                <c:pt idx="1551">
                  <c:v>1.6470407850352653</c:v>
                </c:pt>
                <c:pt idx="1552">
                  <c:v>1.6426121249723655</c:v>
                </c:pt>
                <c:pt idx="1553">
                  <c:v>1.6339901442701983</c:v>
                </c:pt>
                <c:pt idx="1554">
                  <c:v>1.6485811885354043</c:v>
                </c:pt>
                <c:pt idx="1555">
                  <c:v>1.6530882950728485</c:v>
                </c:pt>
                <c:pt idx="1556">
                  <c:v>1.6540653102558069</c:v>
                </c:pt>
                <c:pt idx="1557">
                  <c:v>1.6225868794705574</c:v>
                </c:pt>
                <c:pt idx="1558">
                  <c:v>1.6206257176069545</c:v>
                </c:pt>
                <c:pt idx="1559">
                  <c:v>1.6363934589903224</c:v>
                </c:pt>
                <c:pt idx="1560">
                  <c:v>1.6272080899709747</c:v>
                </c:pt>
                <c:pt idx="1561">
                  <c:v>1.6339544867817688</c:v>
                </c:pt>
                <c:pt idx="1562">
                  <c:v>1.6469195495746063</c:v>
                </c:pt>
                <c:pt idx="1563">
                  <c:v>1.6300892150360498</c:v>
                </c:pt>
                <c:pt idx="1564">
                  <c:v>1.6299251905892758</c:v>
                </c:pt>
                <c:pt idx="1565">
                  <c:v>1.5980616589289915</c:v>
                </c:pt>
                <c:pt idx="1566">
                  <c:v>1.6135013514188115</c:v>
                </c:pt>
                <c:pt idx="1567">
                  <c:v>1.6040378539897164</c:v>
                </c:pt>
                <c:pt idx="1568">
                  <c:v>1.6221447266140361</c:v>
                </c:pt>
                <c:pt idx="1569">
                  <c:v>1.6195488614563944</c:v>
                </c:pt>
                <c:pt idx="1570">
                  <c:v>1.6093222937749156</c:v>
                </c:pt>
                <c:pt idx="1571">
                  <c:v>1.6144641036063982</c:v>
                </c:pt>
                <c:pt idx="1572">
                  <c:v>1.6157121157014183</c:v>
                </c:pt>
                <c:pt idx="1573">
                  <c:v>1.6375701561084843</c:v>
                </c:pt>
                <c:pt idx="1574">
                  <c:v>1.6268586465843691</c:v>
                </c:pt>
                <c:pt idx="1575">
                  <c:v>1.4911105881346143</c:v>
                </c:pt>
                <c:pt idx="1576">
                  <c:v>1.550216440954765</c:v>
                </c:pt>
                <c:pt idx="1577">
                  <c:v>1.5633312651990046</c:v>
                </c:pt>
                <c:pt idx="1578">
                  <c:v>1.5760966460566386</c:v>
                </c:pt>
                <c:pt idx="1579">
                  <c:v>1.5512148506307808</c:v>
                </c:pt>
                <c:pt idx="1580">
                  <c:v>1.5287577644181054</c:v>
                </c:pt>
                <c:pt idx="1581">
                  <c:v>1.5626466414211648</c:v>
                </c:pt>
                <c:pt idx="1582">
                  <c:v>1.5985180747808845</c:v>
                </c:pt>
                <c:pt idx="1583">
                  <c:v>1.5907162163125879</c:v>
                </c:pt>
                <c:pt idx="1584">
                  <c:v>1.5922209623242976</c:v>
                </c:pt>
                <c:pt idx="1585">
                  <c:v>1.6052929975824222</c:v>
                </c:pt>
                <c:pt idx="1586">
                  <c:v>1.6072755539390826</c:v>
                </c:pt>
                <c:pt idx="1587">
                  <c:v>1.6070830035015653</c:v>
                </c:pt>
                <c:pt idx="1588">
                  <c:v>1.6302746339758813</c:v>
                </c:pt>
                <c:pt idx="1589">
                  <c:v>1.6413070608958586</c:v>
                </c:pt>
                <c:pt idx="1590">
                  <c:v>1.6383189633654964</c:v>
                </c:pt>
                <c:pt idx="1591">
                  <c:v>1.6452507791161222</c:v>
                </c:pt>
                <c:pt idx="1592">
                  <c:v>1.6448228892549726</c:v>
                </c:pt>
                <c:pt idx="1593">
                  <c:v>1.6217524942413157</c:v>
                </c:pt>
                <c:pt idx="1594">
                  <c:v>1.6327350006774921</c:v>
                </c:pt>
                <c:pt idx="1595">
                  <c:v>1.6381905964071513</c:v>
                </c:pt>
                <c:pt idx="1596">
                  <c:v>1.64166363578015</c:v>
                </c:pt>
                <c:pt idx="1597">
                  <c:v>1.6494583627507613</c:v>
                </c:pt>
                <c:pt idx="1598">
                  <c:v>1.6725216262667324</c:v>
                </c:pt>
                <c:pt idx="1599">
                  <c:v>1.6813361574064167</c:v>
                </c:pt>
                <c:pt idx="1600">
                  <c:v>1.6666524036712951</c:v>
                </c:pt>
                <c:pt idx="1601">
                  <c:v>1.6676222873565676</c:v>
                </c:pt>
                <c:pt idx="1602">
                  <c:v>1.6570106188000544</c:v>
                </c:pt>
                <c:pt idx="1603">
                  <c:v>1.6594567225062935</c:v>
                </c:pt>
                <c:pt idx="1604">
                  <c:v>1.6635145446895303</c:v>
                </c:pt>
                <c:pt idx="1605">
                  <c:v>1.6594068020224926</c:v>
                </c:pt>
                <c:pt idx="1606">
                  <c:v>1.6370852142658481</c:v>
                </c:pt>
                <c:pt idx="1607">
                  <c:v>1.6359727006268587</c:v>
                </c:pt>
                <c:pt idx="1608">
                  <c:v>1.6449298617202599</c:v>
                </c:pt>
                <c:pt idx="1609">
                  <c:v>1.6482887971302855</c:v>
                </c:pt>
                <c:pt idx="1610">
                  <c:v>1.6388181682035043</c:v>
                </c:pt>
                <c:pt idx="1611">
                  <c:v>1.6385329082960711</c:v>
                </c:pt>
                <c:pt idx="1612">
                  <c:v>1.642298339074189</c:v>
                </c:pt>
                <c:pt idx="1613">
                  <c:v>1.6369211898190741</c:v>
                </c:pt>
                <c:pt idx="1614">
                  <c:v>1.6571033282699699</c:v>
                </c:pt>
                <c:pt idx="1615">
                  <c:v>1.6532451880219365</c:v>
                </c:pt>
                <c:pt idx="1616">
                  <c:v>1.6512626316652759</c:v>
                </c:pt>
                <c:pt idx="1617">
                  <c:v>1.6517047845217976</c:v>
                </c:pt>
                <c:pt idx="1618">
                  <c:v>1.6173666231645307</c:v>
                </c:pt>
                <c:pt idx="1619">
                  <c:v>1.6270583285195725</c:v>
                </c:pt>
                <c:pt idx="1620">
                  <c:v>1.6200908552805173</c:v>
                </c:pt>
                <c:pt idx="1621">
                  <c:v>1.6193705740142488</c:v>
                </c:pt>
                <c:pt idx="1622">
                  <c:v>1.6070687405061936</c:v>
                </c:pt>
                <c:pt idx="1623">
                  <c:v>1.5956940016972965</c:v>
                </c:pt>
                <c:pt idx="1624">
                  <c:v>1.5850181496616105</c:v>
                </c:pt>
                <c:pt idx="1625">
                  <c:v>1.584205158925426</c:v>
                </c:pt>
                <c:pt idx="1626">
                  <c:v>1.60905842836054</c:v>
                </c:pt>
                <c:pt idx="1627">
                  <c:v>1.6016915912510787</c:v>
                </c:pt>
                <c:pt idx="1628">
                  <c:v>1.6043587713855785</c:v>
                </c:pt>
                <c:pt idx="1629">
                  <c:v>1.5950664299009436</c:v>
                </c:pt>
                <c:pt idx="1630">
                  <c:v>1.5910585282015077</c:v>
                </c:pt>
                <c:pt idx="1631">
                  <c:v>1.6071543184784236</c:v>
                </c:pt>
                <c:pt idx="1632">
                  <c:v>1.6047723982513569</c:v>
                </c:pt>
                <c:pt idx="1633">
                  <c:v>1.6373562111779094</c:v>
                </c:pt>
                <c:pt idx="1634">
                  <c:v>1.654015389772006</c:v>
                </c:pt>
                <c:pt idx="1635">
                  <c:v>1.6414211648588319</c:v>
                </c:pt>
                <c:pt idx="1636">
                  <c:v>1.6431398558011168</c:v>
                </c:pt>
                <c:pt idx="1637">
                  <c:v>1.6736626658964651</c:v>
                </c:pt>
                <c:pt idx="1638">
                  <c:v>1.6726072042389624</c:v>
                </c:pt>
                <c:pt idx="1639">
                  <c:v>1.6924256363078811</c:v>
                </c:pt>
                <c:pt idx="1640">
                  <c:v>1.6867204381592178</c:v>
                </c:pt>
                <c:pt idx="1641">
                  <c:v>1.666024831874942</c:v>
                </c:pt>
                <c:pt idx="1642">
                  <c:v>1.6559765516356089</c:v>
                </c:pt>
                <c:pt idx="1643">
                  <c:v>1.6733560114959742</c:v>
                </c:pt>
                <c:pt idx="1644">
                  <c:v>1.6646199268308337</c:v>
                </c:pt>
                <c:pt idx="1645">
                  <c:v>1.6480320632135954</c:v>
                </c:pt>
                <c:pt idx="1646">
                  <c:v>1.6365218259486676</c:v>
                </c:pt>
                <c:pt idx="1647">
                  <c:v>1.6184577423104625</c:v>
                </c:pt>
                <c:pt idx="1648">
                  <c:v>1.6030323128160147</c:v>
                </c:pt>
                <c:pt idx="1649">
                  <c:v>1.6126099142080828</c:v>
                </c:pt>
                <c:pt idx="1650">
                  <c:v>1.6247691177624215</c:v>
                </c:pt>
                <c:pt idx="1651">
                  <c:v>1.6280068177117877</c:v>
                </c:pt>
                <c:pt idx="1652">
                  <c:v>1.6353023398443909</c:v>
                </c:pt>
                <c:pt idx="1653">
                  <c:v>1.6350527374253865</c:v>
                </c:pt>
                <c:pt idx="1654">
                  <c:v>1.6371921867311352</c:v>
                </c:pt>
                <c:pt idx="1655">
                  <c:v>1.6552990593554553</c:v>
                </c:pt>
                <c:pt idx="1656">
                  <c:v>1.6510700812277586</c:v>
                </c:pt>
                <c:pt idx="1657">
                  <c:v>1.6367856913630432</c:v>
                </c:pt>
                <c:pt idx="1658">
                  <c:v>1.6388110367058184</c:v>
                </c:pt>
                <c:pt idx="1659">
                  <c:v>1.6401588897684403</c:v>
                </c:pt>
                <c:pt idx="1660">
                  <c:v>1.6489377634196958</c:v>
                </c:pt>
                <c:pt idx="1661">
                  <c:v>1.6352595508582759</c:v>
                </c:pt>
                <c:pt idx="1662">
                  <c:v>1.6470764425236943</c:v>
                </c:pt>
                <c:pt idx="1663">
                  <c:v>1.6224513810145269</c:v>
                </c:pt>
                <c:pt idx="1664">
                  <c:v>1.6299822425707624</c:v>
                </c:pt>
                <c:pt idx="1665">
                  <c:v>1.628035343702531</c:v>
                </c:pt>
                <c:pt idx="1666">
                  <c:v>1.6168032348473504</c:v>
                </c:pt>
                <c:pt idx="1667">
                  <c:v>1.6124958102451097</c:v>
                </c:pt>
                <c:pt idx="1668">
                  <c:v>1.6082383061266696</c:v>
                </c:pt>
                <c:pt idx="1669">
                  <c:v>1.6206257176069545</c:v>
                </c:pt>
                <c:pt idx="1670">
                  <c:v>1.6343681136475472</c:v>
                </c:pt>
                <c:pt idx="1671">
                  <c:v>1.6381478074210365</c:v>
                </c:pt>
                <c:pt idx="1672">
                  <c:v>1.6117470029880976</c:v>
                </c:pt>
                <c:pt idx="1673">
                  <c:v>1.6258103164245525</c:v>
                </c:pt>
                <c:pt idx="1674">
                  <c:v>1.649465494248447</c:v>
                </c:pt>
                <c:pt idx="1675">
                  <c:v>1.6518545459731999</c:v>
                </c:pt>
                <c:pt idx="1676">
                  <c:v>1.6747894425308258</c:v>
                </c:pt>
                <c:pt idx="1677">
                  <c:v>1.6622950585852536</c:v>
                </c:pt>
                <c:pt idx="1678">
                  <c:v>1.6729423846301961</c:v>
                </c:pt>
                <c:pt idx="1679">
                  <c:v>1.6731064090769703</c:v>
                </c:pt>
                <c:pt idx="1680">
                  <c:v>1.6661888563217162</c:v>
                </c:pt>
                <c:pt idx="1681">
                  <c:v>1.6554559523045433</c:v>
                </c:pt>
                <c:pt idx="1682">
                  <c:v>1.6549710104619071</c:v>
                </c:pt>
                <c:pt idx="1683">
                  <c:v>1.6558053956911492</c:v>
                </c:pt>
                <c:pt idx="1684">
                  <c:v>1.6658108869443671</c:v>
                </c:pt>
                <c:pt idx="1685">
                  <c:v>1.6653402080971025</c:v>
                </c:pt>
                <c:pt idx="1686">
                  <c:v>1.6692197428381934</c:v>
                </c:pt>
                <c:pt idx="1687">
                  <c:v>1.681122212475842</c:v>
                </c:pt>
                <c:pt idx="1688">
                  <c:v>1.683218872795476</c:v>
                </c:pt>
                <c:pt idx="1689">
                  <c:v>1.6928392631736591</c:v>
                </c:pt>
                <c:pt idx="1690">
                  <c:v>1.713399371001904</c:v>
                </c:pt>
                <c:pt idx="1691">
                  <c:v>1.7147115665760966</c:v>
                </c:pt>
                <c:pt idx="1692">
                  <c:v>1.712194147892999</c:v>
                </c:pt>
                <c:pt idx="1693">
                  <c:v>1.730671858396982</c:v>
                </c:pt>
                <c:pt idx="1694">
                  <c:v>1.7329610691541333</c:v>
                </c:pt>
                <c:pt idx="1695">
                  <c:v>1.7430949273656959</c:v>
                </c:pt>
                <c:pt idx="1696">
                  <c:v>1.7310213017835876</c:v>
                </c:pt>
                <c:pt idx="1697">
                  <c:v>1.7647390228421871</c:v>
                </c:pt>
                <c:pt idx="1698">
                  <c:v>1.7653024111593676</c:v>
                </c:pt>
                <c:pt idx="1699">
                  <c:v>1.763063120886017</c:v>
                </c:pt>
                <c:pt idx="1700">
                  <c:v>1.7470029880975302</c:v>
                </c:pt>
                <c:pt idx="1701">
                  <c:v>1.7785313393665803</c:v>
                </c:pt>
                <c:pt idx="1702">
                  <c:v>1.7579355740499063</c:v>
                </c:pt>
                <c:pt idx="1703">
                  <c:v>1.7478587678198299</c:v>
                </c:pt>
                <c:pt idx="1704">
                  <c:v>1.7502692140376401</c:v>
                </c:pt>
                <c:pt idx="1705">
                  <c:v>1.7428167989559487</c:v>
                </c:pt>
                <c:pt idx="1706">
                  <c:v>1.7241750640051918</c:v>
                </c:pt>
                <c:pt idx="1707">
                  <c:v>1.6876475328583753</c:v>
                </c:pt>
                <c:pt idx="1708">
                  <c:v>1.7137131569000805</c:v>
                </c:pt>
                <c:pt idx="1709">
                  <c:v>1.7037504546329776</c:v>
                </c:pt>
                <c:pt idx="1710">
                  <c:v>1.7238684096047012</c:v>
                </c:pt>
                <c:pt idx="1711">
                  <c:v>1.7197036149561771</c:v>
                </c:pt>
                <c:pt idx="1712">
                  <c:v>1.6963123025466578</c:v>
                </c:pt>
                <c:pt idx="1713">
                  <c:v>1.6721864458754983</c:v>
                </c:pt>
                <c:pt idx="1714">
                  <c:v>1.6463490297597398</c:v>
                </c:pt>
                <c:pt idx="1715">
                  <c:v>1.6442238434493628</c:v>
                </c:pt>
                <c:pt idx="1716">
                  <c:v>1.66626730279626</c:v>
                </c:pt>
                <c:pt idx="1717">
                  <c:v>1.6627728689302042</c:v>
                </c:pt>
                <c:pt idx="1718">
                  <c:v>1.635409312309678</c:v>
                </c:pt>
                <c:pt idx="1719">
                  <c:v>1.6524108027926945</c:v>
                </c:pt>
                <c:pt idx="1720">
                  <c:v>1.6402302047452986</c:v>
                </c:pt>
                <c:pt idx="1721">
                  <c:v>1.6778345920426749</c:v>
                </c:pt>
                <c:pt idx="1722">
                  <c:v>1.6825556435106936</c:v>
                </c:pt>
                <c:pt idx="1723">
                  <c:v>1.6958344922017072</c:v>
                </c:pt>
                <c:pt idx="1724">
                  <c:v>1.7203383182502157</c:v>
                </c:pt>
                <c:pt idx="1725">
                  <c:v>1.743893655106509</c:v>
                </c:pt>
                <c:pt idx="1726">
                  <c:v>1.7391012886616317</c:v>
                </c:pt>
                <c:pt idx="1727">
                  <c:v>1.7140340742959428</c:v>
                </c:pt>
                <c:pt idx="1728">
                  <c:v>1.707145047531432</c:v>
                </c:pt>
                <c:pt idx="1729">
                  <c:v>1.6936879113982728</c:v>
                </c:pt>
                <c:pt idx="1730">
                  <c:v>1.6962909080536004</c:v>
                </c:pt>
                <c:pt idx="1731">
                  <c:v>1.6983305163917473</c:v>
                </c:pt>
                <c:pt idx="1732">
                  <c:v>1.6920690614235896</c:v>
                </c:pt>
                <c:pt idx="1733">
                  <c:v>1.6928606576667167</c:v>
                </c:pt>
                <c:pt idx="1734">
                  <c:v>1.6699114981137189</c:v>
                </c:pt>
                <c:pt idx="1735">
                  <c:v>1.6815857598254207</c:v>
                </c:pt>
                <c:pt idx="1736">
                  <c:v>1.6898297711502395</c:v>
                </c:pt>
                <c:pt idx="1737">
                  <c:v>1.6708885132966773</c:v>
                </c:pt>
                <c:pt idx="1738">
                  <c:v>1.6463062407736249</c:v>
                </c:pt>
                <c:pt idx="1739">
                  <c:v>1.6678504952825144</c:v>
                </c:pt>
                <c:pt idx="1740">
                  <c:v>1.698095176968115</c:v>
                </c:pt>
                <c:pt idx="1741">
                  <c:v>1.7105325089322008</c:v>
                </c:pt>
                <c:pt idx="1742">
                  <c:v>1.7062108213345883</c:v>
                </c:pt>
                <c:pt idx="1743">
                  <c:v>1.7409340835668898</c:v>
                </c:pt>
              </c:numCache>
            </c:numRef>
          </c:val>
          <c:smooth val="0"/>
          <c:extLst>
            <c:ext xmlns:c16="http://schemas.microsoft.com/office/drawing/2014/chart" uri="{C3380CC4-5D6E-409C-BE32-E72D297353CC}">
              <c16:uniqueId val="{00000002-F6CD-4EFC-AF0A-BA87ADBAC5A0}"/>
            </c:ext>
          </c:extLst>
        </c:ser>
        <c:dLbls>
          <c:showLegendKey val="0"/>
          <c:showVal val="0"/>
          <c:showCatName val="0"/>
          <c:showSerName val="0"/>
          <c:showPercent val="0"/>
          <c:showBubbleSize val="0"/>
        </c:dLbls>
        <c:marker val="1"/>
        <c:smooth val="0"/>
        <c:axId val="321743728"/>
        <c:axId val="321743336"/>
      </c:lineChart>
      <c:dateAx>
        <c:axId val="318870416"/>
        <c:scaling>
          <c:orientation val="minMax"/>
        </c:scaling>
        <c:delete val="0"/>
        <c:axPos val="b"/>
        <c:numFmt formatCode="mm/yy;@" sourceLinked="0"/>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crossAx val="318870808"/>
        <c:crosses val="autoZero"/>
        <c:auto val="1"/>
        <c:lblOffset val="100"/>
        <c:baseTimeUnit val="days"/>
        <c:majorUnit val="3"/>
        <c:majorTimeUnit val="months"/>
      </c:dateAx>
      <c:valAx>
        <c:axId val="318870808"/>
        <c:scaling>
          <c:orientation val="minMax"/>
          <c:min val="0.60000000000000009"/>
        </c:scaling>
        <c:delete val="0"/>
        <c:axPos val="l"/>
        <c:majorGridlines>
          <c:spPr>
            <a:ln w="9525" cap="flat" cmpd="sng" algn="ctr">
              <a:solidFill>
                <a:schemeClr val="tx1">
                  <a:lumMod val="15000"/>
                  <a:lumOff val="85000"/>
                </a:schemeClr>
              </a:solidFill>
              <a:prstDash val="dash"/>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crossAx val="318870416"/>
        <c:crosses val="autoZero"/>
        <c:crossBetween val="between"/>
        <c:majorUnit val="0.4"/>
      </c:valAx>
      <c:valAx>
        <c:axId val="321743336"/>
        <c:scaling>
          <c:orientation val="minMax"/>
        </c:scaling>
        <c:delete val="1"/>
        <c:axPos val="r"/>
        <c:numFmt formatCode="0.00%" sourceLinked="1"/>
        <c:majorTickMark val="out"/>
        <c:minorTickMark val="none"/>
        <c:tickLblPos val="nextTo"/>
        <c:crossAx val="321743728"/>
        <c:crosses val="max"/>
        <c:crossBetween val="between"/>
      </c:valAx>
      <c:dateAx>
        <c:axId val="321743728"/>
        <c:scaling>
          <c:orientation val="minMax"/>
        </c:scaling>
        <c:delete val="1"/>
        <c:axPos val="b"/>
        <c:numFmt formatCode="m/d/yyyy" sourceLinked="1"/>
        <c:majorTickMark val="out"/>
        <c:minorTickMark val="none"/>
        <c:tickLblPos val="nextTo"/>
        <c:crossAx val="321743336"/>
        <c:crosses val="autoZero"/>
        <c:auto val="1"/>
        <c:lblOffset val="100"/>
        <c:baseTimeUnit val="days"/>
      </c:dateAx>
      <c:spPr>
        <a:noFill/>
        <a:ln>
          <a:noFill/>
        </a:ln>
        <a:effectLst/>
      </c:spPr>
    </c:plotArea>
    <c:legend>
      <c:legendPos val="b"/>
      <c:layout>
        <c:manualLayout>
          <c:xMode val="edge"/>
          <c:yMode val="edge"/>
          <c:x val="0"/>
          <c:y val="0.8826316794596949"/>
          <c:w val="1"/>
          <c:h val="9.418129913777144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spPr>
    <a:noFill/>
    <a:ln w="9525" cap="flat" cmpd="sng" algn="ctr">
      <a:noFill/>
      <a:round/>
    </a:ln>
    <a:effectLst/>
  </c:spPr>
  <c:txPr>
    <a:bodyPr/>
    <a:lstStyle/>
    <a:p>
      <a:pPr>
        <a:defRPr sz="1200"/>
      </a:pPr>
      <a:endParaRPr lang="ru-RU"/>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5A69-4927-BFD5-247C28FEBE41}"/>
              </c:ext>
            </c:extLst>
          </c:dPt>
          <c:val>
            <c:numRef>
              <c:f>Sheet1!$A$1:$B$1</c:f>
              <c:numCache>
                <c:formatCode>General</c:formatCode>
                <c:ptCount val="2"/>
                <c:pt idx="0">
                  <c:v>23.97</c:v>
                </c:pt>
                <c:pt idx="1">
                  <c:v>24.13</c:v>
                </c:pt>
              </c:numCache>
            </c:numRef>
          </c:val>
          <c:extLst>
            <c:ext xmlns:c16="http://schemas.microsoft.com/office/drawing/2014/chart" uri="{C3380CC4-5D6E-409C-BE32-E72D297353CC}">
              <c16:uniqueId val="{00000002-5A69-4927-BFD5-247C28FEBE41}"/>
            </c:ext>
          </c:extLst>
        </c:ser>
        <c:dLbls>
          <c:showLegendKey val="0"/>
          <c:showVal val="0"/>
          <c:showCatName val="0"/>
          <c:showSerName val="0"/>
          <c:showPercent val="0"/>
          <c:showBubbleSize val="0"/>
        </c:dLbls>
        <c:gapWidth val="80"/>
        <c:overlap val="100"/>
        <c:axId val="133193256"/>
        <c:axId val="133193648"/>
      </c:barChart>
      <c:catAx>
        <c:axId val="13319325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33193648"/>
        <c:crosses val="min"/>
        <c:auto val="0"/>
        <c:lblAlgn val="ctr"/>
        <c:lblOffset val="100"/>
        <c:noMultiLvlLbl val="0"/>
      </c:catAx>
      <c:valAx>
        <c:axId val="133193648"/>
        <c:scaling>
          <c:orientation val="minMax"/>
          <c:max val="24.13"/>
          <c:min val="23"/>
        </c:scaling>
        <c:delete val="1"/>
        <c:axPos val="l"/>
        <c:numFmt formatCode="General" sourceLinked="1"/>
        <c:majorTickMark val="out"/>
        <c:minorTickMark val="none"/>
        <c:tickLblPos val="nextTo"/>
        <c:crossAx val="1331932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C0D2-4EA1-9D3C-C3FDB3639FC2}"/>
              </c:ext>
            </c:extLst>
          </c:dPt>
          <c:val>
            <c:numRef>
              <c:f>Sheet1!$A$1:$B$1</c:f>
              <c:numCache>
                <c:formatCode>General</c:formatCode>
                <c:ptCount val="2"/>
                <c:pt idx="0">
                  <c:v>2.38</c:v>
                </c:pt>
                <c:pt idx="1">
                  <c:v>2.46</c:v>
                </c:pt>
              </c:numCache>
            </c:numRef>
          </c:val>
          <c:extLst>
            <c:ext xmlns:c16="http://schemas.microsoft.com/office/drawing/2014/chart" uri="{C3380CC4-5D6E-409C-BE32-E72D297353CC}">
              <c16:uniqueId val="{00000002-C0D2-4EA1-9D3C-C3FDB3639FC2}"/>
            </c:ext>
          </c:extLst>
        </c:ser>
        <c:dLbls>
          <c:showLegendKey val="0"/>
          <c:showVal val="0"/>
          <c:showCatName val="0"/>
          <c:showSerName val="0"/>
          <c:showPercent val="0"/>
          <c:showBubbleSize val="0"/>
        </c:dLbls>
        <c:gapWidth val="80"/>
        <c:overlap val="100"/>
        <c:axId val="133194432"/>
        <c:axId val="133194824"/>
      </c:barChart>
      <c:catAx>
        <c:axId val="13319443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33194824"/>
        <c:crosses val="min"/>
        <c:auto val="0"/>
        <c:lblAlgn val="ctr"/>
        <c:lblOffset val="100"/>
        <c:noMultiLvlLbl val="0"/>
      </c:catAx>
      <c:valAx>
        <c:axId val="133194824"/>
        <c:scaling>
          <c:orientation val="minMax"/>
          <c:max val="2.46"/>
          <c:min val="2"/>
        </c:scaling>
        <c:delete val="1"/>
        <c:axPos val="l"/>
        <c:numFmt formatCode="General" sourceLinked="1"/>
        <c:majorTickMark val="out"/>
        <c:minorTickMark val="none"/>
        <c:tickLblPos val="nextTo"/>
        <c:crossAx val="13319443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2B4F-4F82-9CFE-FDC7A4FC0561}"/>
              </c:ext>
            </c:extLst>
          </c:dPt>
          <c:val>
            <c:numRef>
              <c:f>Sheet1!$A$1:$B$1</c:f>
              <c:numCache>
                <c:formatCode>General</c:formatCode>
                <c:ptCount val="2"/>
                <c:pt idx="0">
                  <c:v>18.61</c:v>
                </c:pt>
                <c:pt idx="1">
                  <c:v>18.59</c:v>
                </c:pt>
              </c:numCache>
            </c:numRef>
          </c:val>
          <c:extLst>
            <c:ext xmlns:c16="http://schemas.microsoft.com/office/drawing/2014/chart" uri="{C3380CC4-5D6E-409C-BE32-E72D297353CC}">
              <c16:uniqueId val="{00000002-2B4F-4F82-9CFE-FDC7A4FC0561}"/>
            </c:ext>
          </c:extLst>
        </c:ser>
        <c:dLbls>
          <c:showLegendKey val="0"/>
          <c:showVal val="0"/>
          <c:showCatName val="0"/>
          <c:showSerName val="0"/>
          <c:showPercent val="0"/>
          <c:showBubbleSize val="0"/>
        </c:dLbls>
        <c:gapWidth val="80"/>
        <c:overlap val="100"/>
        <c:axId val="134576296"/>
        <c:axId val="134576688"/>
      </c:barChart>
      <c:catAx>
        <c:axId val="13457629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34576688"/>
        <c:crosses val="min"/>
        <c:auto val="0"/>
        <c:lblAlgn val="ctr"/>
        <c:lblOffset val="100"/>
        <c:noMultiLvlLbl val="0"/>
      </c:catAx>
      <c:valAx>
        <c:axId val="134576688"/>
        <c:scaling>
          <c:orientation val="minMax"/>
          <c:max val="18.61"/>
          <c:min val="2"/>
        </c:scaling>
        <c:delete val="1"/>
        <c:axPos val="l"/>
        <c:numFmt formatCode="General" sourceLinked="1"/>
        <c:majorTickMark val="out"/>
        <c:minorTickMark val="none"/>
        <c:tickLblPos val="nextTo"/>
        <c:crossAx val="13457629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4161-4FE9-8206-1027F8DAE450}"/>
              </c:ext>
            </c:extLst>
          </c:dPt>
          <c:val>
            <c:numRef>
              <c:f>Sheet1!$A$1:$B$1</c:f>
              <c:numCache>
                <c:formatCode>General</c:formatCode>
                <c:ptCount val="2"/>
                <c:pt idx="0">
                  <c:v>22.4</c:v>
                </c:pt>
                <c:pt idx="1">
                  <c:v>22.84</c:v>
                </c:pt>
              </c:numCache>
            </c:numRef>
          </c:val>
          <c:extLst>
            <c:ext xmlns:c16="http://schemas.microsoft.com/office/drawing/2014/chart" uri="{C3380CC4-5D6E-409C-BE32-E72D297353CC}">
              <c16:uniqueId val="{00000002-4161-4FE9-8206-1027F8DAE450}"/>
            </c:ext>
          </c:extLst>
        </c:ser>
        <c:dLbls>
          <c:showLegendKey val="0"/>
          <c:showVal val="0"/>
          <c:showCatName val="0"/>
          <c:showSerName val="0"/>
          <c:showPercent val="0"/>
          <c:showBubbleSize val="0"/>
        </c:dLbls>
        <c:gapWidth val="80"/>
        <c:overlap val="100"/>
        <c:axId val="134577472"/>
        <c:axId val="281530256"/>
      </c:barChart>
      <c:catAx>
        <c:axId val="13457747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1530256"/>
        <c:crosses val="min"/>
        <c:auto val="0"/>
        <c:lblAlgn val="ctr"/>
        <c:lblOffset val="100"/>
        <c:noMultiLvlLbl val="0"/>
      </c:catAx>
      <c:valAx>
        <c:axId val="281530256"/>
        <c:scaling>
          <c:orientation val="minMax"/>
          <c:max val="22.84"/>
          <c:min val="21.5"/>
        </c:scaling>
        <c:delete val="1"/>
        <c:axPos val="l"/>
        <c:numFmt formatCode="General" sourceLinked="1"/>
        <c:majorTickMark val="out"/>
        <c:minorTickMark val="none"/>
        <c:tickLblPos val="nextTo"/>
        <c:crossAx val="13457747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6E2F-43F4-B49B-E9968B641034}"/>
              </c:ext>
            </c:extLst>
          </c:dPt>
          <c:val>
            <c:numRef>
              <c:f>Sheet1!$A$1:$B$1</c:f>
              <c:numCache>
                <c:formatCode>General</c:formatCode>
                <c:ptCount val="2"/>
                <c:pt idx="0">
                  <c:v>2.35</c:v>
                </c:pt>
                <c:pt idx="1">
                  <c:v>2.44</c:v>
                </c:pt>
              </c:numCache>
            </c:numRef>
          </c:val>
          <c:extLst>
            <c:ext xmlns:c16="http://schemas.microsoft.com/office/drawing/2014/chart" uri="{C3380CC4-5D6E-409C-BE32-E72D297353CC}">
              <c16:uniqueId val="{00000002-6E2F-43F4-B49B-E9968B641034}"/>
            </c:ext>
          </c:extLst>
        </c:ser>
        <c:dLbls>
          <c:showLegendKey val="0"/>
          <c:showVal val="0"/>
          <c:showCatName val="0"/>
          <c:showSerName val="0"/>
          <c:showPercent val="0"/>
          <c:showBubbleSize val="0"/>
        </c:dLbls>
        <c:gapWidth val="80"/>
        <c:overlap val="100"/>
        <c:axId val="281531040"/>
        <c:axId val="281531432"/>
      </c:barChart>
      <c:catAx>
        <c:axId val="28153104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1531432"/>
        <c:crosses val="min"/>
        <c:auto val="0"/>
        <c:lblAlgn val="ctr"/>
        <c:lblOffset val="100"/>
        <c:noMultiLvlLbl val="0"/>
      </c:catAx>
      <c:valAx>
        <c:axId val="281531432"/>
        <c:scaling>
          <c:orientation val="minMax"/>
          <c:max val="2.44"/>
          <c:min val="0"/>
        </c:scaling>
        <c:delete val="1"/>
        <c:axPos val="l"/>
        <c:numFmt formatCode="General" sourceLinked="1"/>
        <c:majorTickMark val="out"/>
        <c:minorTickMark val="none"/>
        <c:tickLblPos val="nextTo"/>
        <c:crossAx val="28153104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6FEE-4BEE-ACD1-2C747DE5AFAB}"/>
              </c:ext>
            </c:extLst>
          </c:dPt>
          <c:val>
            <c:numRef>
              <c:f>Sheet1!$A$1:$B$1</c:f>
              <c:numCache>
                <c:formatCode>General</c:formatCode>
                <c:ptCount val="2"/>
                <c:pt idx="0">
                  <c:v>19.45</c:v>
                </c:pt>
                <c:pt idx="1">
                  <c:v>19.309999999999999</c:v>
                </c:pt>
              </c:numCache>
            </c:numRef>
          </c:val>
          <c:extLst>
            <c:ext xmlns:c16="http://schemas.microsoft.com/office/drawing/2014/chart" uri="{C3380CC4-5D6E-409C-BE32-E72D297353CC}">
              <c16:uniqueId val="{00000002-6FEE-4BEE-ACD1-2C747DE5AFAB}"/>
            </c:ext>
          </c:extLst>
        </c:ser>
        <c:dLbls>
          <c:showLegendKey val="0"/>
          <c:showVal val="0"/>
          <c:showCatName val="0"/>
          <c:showSerName val="0"/>
          <c:showPercent val="0"/>
          <c:showBubbleSize val="0"/>
        </c:dLbls>
        <c:gapWidth val="80"/>
        <c:overlap val="100"/>
        <c:axId val="281532216"/>
        <c:axId val="281532608"/>
      </c:barChart>
      <c:catAx>
        <c:axId val="28153221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1532608"/>
        <c:crosses val="min"/>
        <c:auto val="0"/>
        <c:lblAlgn val="ctr"/>
        <c:lblOffset val="100"/>
        <c:noMultiLvlLbl val="0"/>
      </c:catAx>
      <c:valAx>
        <c:axId val="281532608"/>
        <c:scaling>
          <c:orientation val="minMax"/>
          <c:max val="19.45"/>
          <c:min val="17"/>
        </c:scaling>
        <c:delete val="1"/>
        <c:axPos val="l"/>
        <c:numFmt formatCode="General" sourceLinked="1"/>
        <c:majorTickMark val="out"/>
        <c:minorTickMark val="none"/>
        <c:tickLblPos val="nextTo"/>
        <c:crossAx val="28153221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AB11-4A24-AD11-723FFA1C118D}"/>
              </c:ext>
            </c:extLst>
          </c:dPt>
          <c:val>
            <c:numRef>
              <c:f>Sheet1!$A$1:$B$1</c:f>
              <c:numCache>
                <c:formatCode>General</c:formatCode>
                <c:ptCount val="2"/>
                <c:pt idx="0">
                  <c:v>37.299999999999997</c:v>
                </c:pt>
                <c:pt idx="1">
                  <c:v>37.5</c:v>
                </c:pt>
              </c:numCache>
            </c:numRef>
          </c:val>
          <c:extLst>
            <c:ext xmlns:c16="http://schemas.microsoft.com/office/drawing/2014/chart" uri="{C3380CC4-5D6E-409C-BE32-E72D297353CC}">
              <c16:uniqueId val="{00000002-AB11-4A24-AD11-723FFA1C118D}"/>
            </c:ext>
          </c:extLst>
        </c:ser>
        <c:dLbls>
          <c:showLegendKey val="0"/>
          <c:showVal val="0"/>
          <c:showCatName val="0"/>
          <c:showSerName val="0"/>
          <c:showPercent val="0"/>
          <c:showBubbleSize val="0"/>
        </c:dLbls>
        <c:gapWidth val="80"/>
        <c:overlap val="100"/>
        <c:axId val="281533392"/>
        <c:axId val="281533784"/>
      </c:barChart>
      <c:catAx>
        <c:axId val="28153339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1533784"/>
        <c:crosses val="min"/>
        <c:auto val="0"/>
        <c:lblAlgn val="ctr"/>
        <c:lblOffset val="100"/>
        <c:noMultiLvlLbl val="0"/>
      </c:catAx>
      <c:valAx>
        <c:axId val="281533784"/>
        <c:scaling>
          <c:orientation val="minMax"/>
          <c:max val="37.5"/>
          <c:min val="36"/>
        </c:scaling>
        <c:delete val="1"/>
        <c:axPos val="l"/>
        <c:numFmt formatCode="General" sourceLinked="1"/>
        <c:majorTickMark val="out"/>
        <c:minorTickMark val="none"/>
        <c:tickLblPos val="nextTo"/>
        <c:crossAx val="281533392"/>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852320675105481E-2"/>
          <c:y val="0.11504424778761062"/>
          <c:w val="0.89029535864978893"/>
          <c:h val="0.76991150442477874"/>
        </c:manualLayout>
      </c:layout>
      <c:barChart>
        <c:barDir val="col"/>
        <c:grouping val="stacked"/>
        <c:varyColors val="0"/>
        <c:ser>
          <c:idx val="0"/>
          <c:order val="0"/>
          <c:spPr>
            <a:solidFill>
              <a:srgbClr val="C8102E"/>
            </a:solidFill>
            <a:ln>
              <a:noFill/>
            </a:ln>
          </c:spPr>
          <c:invertIfNegative val="0"/>
          <c:dPt>
            <c:idx val="0"/>
            <c:invertIfNegative val="0"/>
            <c:bubble3D val="0"/>
            <c:spPr>
              <a:solidFill>
                <a:srgbClr val="808080"/>
              </a:solidFill>
              <a:ln>
                <a:noFill/>
              </a:ln>
            </c:spPr>
            <c:extLst>
              <c:ext xmlns:c16="http://schemas.microsoft.com/office/drawing/2014/chart" uri="{C3380CC4-5D6E-409C-BE32-E72D297353CC}">
                <c16:uniqueId val="{00000001-E3A6-40AB-BABF-728FD7AB4EAF}"/>
              </c:ext>
            </c:extLst>
          </c:dPt>
          <c:val>
            <c:numRef>
              <c:f>Sheet1!$A$1:$B$1</c:f>
              <c:numCache>
                <c:formatCode>General</c:formatCode>
                <c:ptCount val="2"/>
                <c:pt idx="0">
                  <c:v>2.62</c:v>
                </c:pt>
                <c:pt idx="1">
                  <c:v>2.75</c:v>
                </c:pt>
              </c:numCache>
            </c:numRef>
          </c:val>
          <c:extLst>
            <c:ext xmlns:c16="http://schemas.microsoft.com/office/drawing/2014/chart" uri="{C3380CC4-5D6E-409C-BE32-E72D297353CC}">
              <c16:uniqueId val="{00000002-E3A6-40AB-BABF-728FD7AB4EAF}"/>
            </c:ext>
          </c:extLst>
        </c:ser>
        <c:dLbls>
          <c:showLegendKey val="0"/>
          <c:showVal val="0"/>
          <c:showCatName val="0"/>
          <c:showSerName val="0"/>
          <c:showPercent val="0"/>
          <c:showBubbleSize val="0"/>
        </c:dLbls>
        <c:gapWidth val="80"/>
        <c:overlap val="100"/>
        <c:axId val="282161200"/>
        <c:axId val="282161592"/>
      </c:barChart>
      <c:catAx>
        <c:axId val="28216120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282161592"/>
        <c:crosses val="min"/>
        <c:auto val="0"/>
        <c:lblAlgn val="ctr"/>
        <c:lblOffset val="100"/>
        <c:noMultiLvlLbl val="0"/>
      </c:catAx>
      <c:valAx>
        <c:axId val="282161592"/>
        <c:scaling>
          <c:orientation val="minMax"/>
          <c:max val="2.75"/>
          <c:min val="0"/>
        </c:scaling>
        <c:delete val="1"/>
        <c:axPos val="l"/>
        <c:numFmt formatCode="General" sourceLinked="1"/>
        <c:majorTickMark val="out"/>
        <c:minorTickMark val="none"/>
        <c:tickLblPos val="nextTo"/>
        <c:crossAx val="282161200"/>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34BDA6-AD30-4D3D-B4E6-4C81FAC3AAD3}" type="doc">
      <dgm:prSet loTypeId="urn:microsoft.com/office/officeart/2005/8/layout/process3" loCatId="process" qsTypeId="urn:microsoft.com/office/officeart/2005/8/quickstyle/simple3" qsCatId="simple" csTypeId="urn:microsoft.com/office/officeart/2005/8/colors/accent1_2" csCatId="accent1" phldr="1"/>
      <dgm:spPr/>
      <dgm:t>
        <a:bodyPr/>
        <a:lstStyle/>
        <a:p>
          <a:endParaRPr lang="ru-RU"/>
        </a:p>
      </dgm:t>
    </dgm:pt>
    <dgm:pt modelId="{5957BE9C-57F1-4797-9E35-4685A8065B73}">
      <dgm:prSet custT="1"/>
      <dgm:spPr>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dgm:spPr>
      <dgm:t>
        <a:bodyPr/>
        <a:lstStyle/>
        <a:p>
          <a:pPr algn="l" rtl="0">
            <a:lnSpc>
              <a:spcPct val="100000"/>
            </a:lnSpc>
            <a:spcAft>
              <a:spcPts val="800"/>
            </a:spcAft>
          </a:pPr>
          <a:r>
            <a:rPr lang="ru-RU" sz="1400" i="0" dirty="0" smtClean="0">
              <a:solidFill>
                <a:schemeClr val="tx1"/>
              </a:solidFill>
              <a:latin typeface="+mj-lt"/>
            </a:rPr>
            <a:t>ФОРМИРОВАНИЕ КОРЗИН</a:t>
          </a:r>
          <a:endParaRPr lang="ru-RU" sz="1400" i="0" dirty="0">
            <a:solidFill>
              <a:schemeClr val="tx1"/>
            </a:solidFill>
            <a:latin typeface="+mj-lt"/>
          </a:endParaRPr>
        </a:p>
      </dgm:t>
    </dgm:pt>
    <dgm:pt modelId="{25CCF86B-1BF2-4E7F-B170-30891F33BEA6}" type="parTrans" cxnId="{BD0EE0A8-EB6E-493D-83B6-97E7D0E1A180}">
      <dgm:prSet/>
      <dgm:spPr/>
      <dgm:t>
        <a:bodyPr/>
        <a:lstStyle/>
        <a:p>
          <a:endParaRPr lang="ru-RU"/>
        </a:p>
      </dgm:t>
    </dgm:pt>
    <dgm:pt modelId="{B475F910-0492-47C2-8080-E478907DCB4E}" type="sibTrans" cxnId="{BD0EE0A8-EB6E-493D-83B6-97E7D0E1A180}">
      <dgm:prSet/>
      <dgm:spPr>
        <a:gradFill flip="none" rotWithShape="0">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dgm:spPr>
      <dgm:t>
        <a:bodyPr/>
        <a:lstStyle/>
        <a:p>
          <a:endParaRPr lang="ru-RU"/>
        </a:p>
      </dgm:t>
    </dgm:pt>
    <dgm:pt modelId="{A987E2FF-2A34-42CB-A6F8-000F303A335B}">
      <dgm:prSet custT="1"/>
      <dgm:spPr>
        <a:gradFill flip="none" rotWithShape="0">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dgm:spPr>
      <dgm:t>
        <a:bodyPr/>
        <a:lstStyle/>
        <a:p>
          <a:pPr rtl="0">
            <a:lnSpc>
              <a:spcPct val="100000"/>
            </a:lnSpc>
            <a:spcAft>
              <a:spcPts val="800"/>
            </a:spcAft>
          </a:pPr>
          <a:r>
            <a:rPr lang="ru-RU" sz="1400" i="0" dirty="0" smtClean="0">
              <a:solidFill>
                <a:schemeClr val="tx1"/>
              </a:solidFill>
            </a:rPr>
            <a:t>КАЛЬКУЛИРУЮЩИЙ АГЕНТ</a:t>
          </a:r>
          <a:endParaRPr lang="ru-RU" sz="1400" i="0" dirty="0">
            <a:solidFill>
              <a:schemeClr val="tx1"/>
            </a:solidFill>
          </a:endParaRPr>
        </a:p>
      </dgm:t>
    </dgm:pt>
    <dgm:pt modelId="{A4390A7C-0930-4CE2-A44E-D7F0C1093E9E}" type="parTrans" cxnId="{CE2140D7-1353-4F32-9FA9-5B1809582019}">
      <dgm:prSet/>
      <dgm:spPr/>
      <dgm:t>
        <a:bodyPr/>
        <a:lstStyle/>
        <a:p>
          <a:endParaRPr lang="ru-RU"/>
        </a:p>
      </dgm:t>
    </dgm:pt>
    <dgm:pt modelId="{230C2A2E-B8A6-4FBF-9FC2-7ED48D4502BC}" type="sibTrans" cxnId="{CE2140D7-1353-4F32-9FA9-5B1809582019}">
      <dgm:prSet/>
      <dgm:spPr/>
      <dgm:t>
        <a:bodyPr/>
        <a:lstStyle/>
        <a:p>
          <a:endParaRPr lang="ru-RU"/>
        </a:p>
      </dgm:t>
    </dgm:pt>
    <dgm:pt modelId="{90E6879F-625D-42D5-BC02-15303C81ACC3}">
      <dgm:prSet/>
      <dgm:spPr/>
      <dgm:t>
        <a:bodyPr/>
        <a:lstStyle/>
        <a:p>
          <a:pPr rtl="0">
            <a:lnSpc>
              <a:spcPct val="110000"/>
            </a:lnSpc>
          </a:pPr>
          <a:r>
            <a:rPr lang="ru-RU" i="0" dirty="0" smtClean="0">
              <a:solidFill>
                <a:schemeClr val="tx1"/>
              </a:solidFill>
              <a:latin typeface="+mj-lt"/>
            </a:rPr>
            <a:t>Ежегодный анализ  и отбор компаний по показателям устойчивого развития и корпоративной социальной ответственности. </a:t>
          </a:r>
          <a:endParaRPr lang="ru-RU" dirty="0"/>
        </a:p>
      </dgm:t>
    </dgm:pt>
    <dgm:pt modelId="{6B0BB97A-7F53-4AD8-8861-DBFBD989D792}" type="parTrans" cxnId="{B78FFFBA-690C-44FF-B72D-C5B20D1324C6}">
      <dgm:prSet/>
      <dgm:spPr/>
      <dgm:t>
        <a:bodyPr/>
        <a:lstStyle/>
        <a:p>
          <a:endParaRPr lang="ru-RU"/>
        </a:p>
      </dgm:t>
    </dgm:pt>
    <dgm:pt modelId="{815184F5-1CCC-4CEF-BFCB-3FBD9CC6D89F}" type="sibTrans" cxnId="{B78FFFBA-690C-44FF-B72D-C5B20D1324C6}">
      <dgm:prSet/>
      <dgm:spPr/>
      <dgm:t>
        <a:bodyPr/>
        <a:lstStyle/>
        <a:p>
          <a:endParaRPr lang="ru-RU"/>
        </a:p>
      </dgm:t>
    </dgm:pt>
    <dgm:pt modelId="{2902286C-6182-457E-9398-A829D7616EF9}">
      <dgm:prSet/>
      <dgm:spPr/>
      <dgm:t>
        <a:bodyPr/>
        <a:lstStyle/>
        <a:p>
          <a:pPr rtl="0">
            <a:lnSpc>
              <a:spcPct val="110000"/>
            </a:lnSpc>
          </a:pPr>
          <a:r>
            <a:rPr lang="ru-RU" i="0" dirty="0" smtClean="0">
              <a:solidFill>
                <a:schemeClr val="tx1"/>
              </a:solidFill>
              <a:latin typeface="+mj-lt"/>
            </a:rPr>
            <a:t>Формирование состава индексных корзин на основании </a:t>
          </a:r>
          <a:r>
            <a:rPr lang="ru-RU" i="0" dirty="0" err="1" smtClean="0">
              <a:solidFill>
                <a:schemeClr val="tx1"/>
              </a:solidFill>
              <a:latin typeface="+mj-lt"/>
            </a:rPr>
            <a:t>рэнкингов</a:t>
          </a:r>
          <a:r>
            <a:rPr lang="ru-RU" i="0" dirty="0" smtClean="0">
              <a:solidFill>
                <a:schemeClr val="tx1"/>
              </a:solidFill>
              <a:latin typeface="+mj-lt"/>
            </a:rPr>
            <a:t> устойчивого развития.</a:t>
          </a:r>
          <a:endParaRPr lang="ru-RU" i="0" dirty="0">
            <a:solidFill>
              <a:schemeClr val="tx1"/>
            </a:solidFill>
            <a:latin typeface="+mj-lt"/>
          </a:endParaRPr>
        </a:p>
      </dgm:t>
    </dgm:pt>
    <dgm:pt modelId="{DBC6CD11-43EF-406B-9BA4-6AB07674EB35}" type="parTrans" cxnId="{8F0B4E4A-56FE-44E1-B2E8-1885F74C4C06}">
      <dgm:prSet/>
      <dgm:spPr/>
      <dgm:t>
        <a:bodyPr/>
        <a:lstStyle/>
        <a:p>
          <a:endParaRPr lang="ru-RU"/>
        </a:p>
      </dgm:t>
    </dgm:pt>
    <dgm:pt modelId="{152851DB-C46A-4599-BCC6-BAD77855876C}" type="sibTrans" cxnId="{8F0B4E4A-56FE-44E1-B2E8-1885F74C4C06}">
      <dgm:prSet/>
      <dgm:spPr/>
      <dgm:t>
        <a:bodyPr/>
        <a:lstStyle/>
        <a:p>
          <a:endParaRPr lang="ru-RU"/>
        </a:p>
      </dgm:t>
    </dgm:pt>
    <dgm:pt modelId="{4FDA5628-C841-429F-80ED-5A8B793021BE}">
      <dgm:prSet/>
      <dgm:spPr/>
      <dgm:t>
        <a:bodyPr/>
        <a:lstStyle/>
        <a:p>
          <a:pPr rtl="0">
            <a:lnSpc>
              <a:spcPct val="110000"/>
            </a:lnSpc>
          </a:pPr>
          <a:r>
            <a:rPr lang="ru-RU" i="0" dirty="0" smtClean="0">
              <a:solidFill>
                <a:schemeClr val="tx1"/>
              </a:solidFill>
            </a:rPr>
            <a:t>Отбор среди лидеров УР и КСО эмитентов, акции которых торгуются на Бирже. </a:t>
          </a:r>
          <a:endParaRPr lang="ru-RU" dirty="0"/>
        </a:p>
      </dgm:t>
    </dgm:pt>
    <dgm:pt modelId="{71731603-34FA-406A-B98B-3BAFFEB5B245}" type="parTrans" cxnId="{8742DAB7-3EF0-4F8C-8666-66EDA08EEEDC}">
      <dgm:prSet/>
      <dgm:spPr/>
      <dgm:t>
        <a:bodyPr/>
        <a:lstStyle/>
        <a:p>
          <a:endParaRPr lang="ru-RU"/>
        </a:p>
      </dgm:t>
    </dgm:pt>
    <dgm:pt modelId="{453FBEF5-D0E9-4CB8-9FB3-DF97F6C9F1AB}" type="sibTrans" cxnId="{8742DAB7-3EF0-4F8C-8666-66EDA08EEEDC}">
      <dgm:prSet/>
      <dgm:spPr/>
      <dgm:t>
        <a:bodyPr/>
        <a:lstStyle/>
        <a:p>
          <a:endParaRPr lang="ru-RU"/>
        </a:p>
      </dgm:t>
    </dgm:pt>
    <dgm:pt modelId="{23C2F394-EBC4-4B7C-8AD2-A9536AC9DE6D}">
      <dgm:prSet/>
      <dgm:spPr/>
      <dgm:t>
        <a:bodyPr/>
        <a:lstStyle/>
        <a:p>
          <a:pPr rtl="0">
            <a:lnSpc>
              <a:spcPct val="110000"/>
            </a:lnSpc>
          </a:pPr>
          <a:r>
            <a:rPr lang="ru-RU" i="0" dirty="0" smtClean="0">
              <a:solidFill>
                <a:schemeClr val="tx1"/>
              </a:solidFill>
            </a:rPr>
            <a:t>Формирование веса акций в корзине на основании капитализации, </a:t>
          </a:r>
          <a:r>
            <a:rPr lang="en-US" i="0" dirty="0" smtClean="0">
              <a:solidFill>
                <a:schemeClr val="tx1"/>
              </a:solidFill>
            </a:rPr>
            <a:t>free-float </a:t>
          </a:r>
          <a:r>
            <a:rPr lang="ru-RU" i="0" dirty="0" smtClean="0">
              <a:solidFill>
                <a:schemeClr val="tx1"/>
              </a:solidFill>
            </a:rPr>
            <a:t>и </a:t>
          </a:r>
          <a:r>
            <a:rPr lang="ru-RU" i="0" dirty="0" err="1" smtClean="0">
              <a:solidFill>
                <a:schemeClr val="tx1"/>
              </a:solidFill>
            </a:rPr>
            <a:t>рэнкингов</a:t>
          </a:r>
          <a:r>
            <a:rPr lang="ru-RU" i="0" dirty="0" smtClean="0">
              <a:solidFill>
                <a:schemeClr val="tx1"/>
              </a:solidFill>
            </a:rPr>
            <a:t> РСПП.</a:t>
          </a:r>
          <a:endParaRPr lang="ru-RU" i="0" dirty="0" smtClean="0">
            <a:solidFill>
              <a:schemeClr val="tx1"/>
            </a:solidFill>
          </a:endParaRPr>
        </a:p>
      </dgm:t>
    </dgm:pt>
    <dgm:pt modelId="{816A9EBE-35B9-4A54-9125-63DB995A169A}" type="parTrans" cxnId="{38B93CA5-8EE5-40D3-9E75-5BBCE71AC839}">
      <dgm:prSet/>
      <dgm:spPr/>
      <dgm:t>
        <a:bodyPr/>
        <a:lstStyle/>
        <a:p>
          <a:endParaRPr lang="ru-RU"/>
        </a:p>
      </dgm:t>
    </dgm:pt>
    <dgm:pt modelId="{30A00629-DEFE-4B1C-9DB7-24F04859D771}" type="sibTrans" cxnId="{38B93CA5-8EE5-40D3-9E75-5BBCE71AC839}">
      <dgm:prSet/>
      <dgm:spPr/>
      <dgm:t>
        <a:bodyPr/>
        <a:lstStyle/>
        <a:p>
          <a:endParaRPr lang="ru-RU"/>
        </a:p>
      </dgm:t>
    </dgm:pt>
    <dgm:pt modelId="{3EA83D30-81ED-4859-A6CA-D783DC490314}">
      <dgm:prSet/>
      <dgm:spPr/>
      <dgm:t>
        <a:bodyPr/>
        <a:lstStyle/>
        <a:p>
          <a:pPr rtl="0">
            <a:lnSpc>
              <a:spcPct val="110000"/>
            </a:lnSpc>
          </a:pPr>
          <a:r>
            <a:rPr lang="ru-RU" i="0" dirty="0" smtClean="0">
              <a:solidFill>
                <a:schemeClr val="tx1"/>
              </a:solidFill>
            </a:rPr>
            <a:t>Моделирование ежедневных значений фондовых индексов устойчивого развития</a:t>
          </a:r>
          <a:r>
            <a:rPr lang="ru-RU" i="1" dirty="0" smtClean="0">
              <a:solidFill>
                <a:schemeClr val="tx1"/>
              </a:solidFill>
            </a:rPr>
            <a:t>.</a:t>
          </a:r>
          <a:endParaRPr lang="ru-RU" i="1" dirty="0">
            <a:solidFill>
              <a:schemeClr val="tx1"/>
            </a:solidFill>
          </a:endParaRPr>
        </a:p>
      </dgm:t>
    </dgm:pt>
    <dgm:pt modelId="{64DB1813-6DD0-4D36-B948-5E3EE41400AA}" type="parTrans" cxnId="{F2F8AF8A-B34D-4698-9772-C36E81BD5667}">
      <dgm:prSet/>
      <dgm:spPr/>
      <dgm:t>
        <a:bodyPr/>
        <a:lstStyle/>
        <a:p>
          <a:endParaRPr lang="ru-RU"/>
        </a:p>
      </dgm:t>
    </dgm:pt>
    <dgm:pt modelId="{4EA6E2CF-2443-45F5-A918-F599F0CDEDEA}" type="sibTrans" cxnId="{F2F8AF8A-B34D-4698-9772-C36E81BD5667}">
      <dgm:prSet/>
      <dgm:spPr/>
      <dgm:t>
        <a:bodyPr/>
        <a:lstStyle/>
        <a:p>
          <a:endParaRPr lang="ru-RU"/>
        </a:p>
      </dgm:t>
    </dgm:pt>
    <dgm:pt modelId="{CD6E16D3-C889-4975-80D6-AB840BA23695}" type="pres">
      <dgm:prSet presAssocID="{3534BDA6-AD30-4D3D-B4E6-4C81FAC3AAD3}" presName="linearFlow" presStyleCnt="0">
        <dgm:presLayoutVars>
          <dgm:dir/>
          <dgm:animLvl val="lvl"/>
          <dgm:resizeHandles val="exact"/>
        </dgm:presLayoutVars>
      </dgm:prSet>
      <dgm:spPr/>
      <dgm:t>
        <a:bodyPr/>
        <a:lstStyle/>
        <a:p>
          <a:endParaRPr lang="ru-RU"/>
        </a:p>
      </dgm:t>
    </dgm:pt>
    <dgm:pt modelId="{DCDFE9DC-57A5-4A4A-87A1-207B09A0CCBA}" type="pres">
      <dgm:prSet presAssocID="{5957BE9C-57F1-4797-9E35-4685A8065B73}" presName="composite" presStyleCnt="0"/>
      <dgm:spPr/>
    </dgm:pt>
    <dgm:pt modelId="{4101FD93-4C4C-4D53-A316-C202A9AB7D34}" type="pres">
      <dgm:prSet presAssocID="{5957BE9C-57F1-4797-9E35-4685A8065B73}" presName="parTx" presStyleLbl="node1" presStyleIdx="0" presStyleCnt="2">
        <dgm:presLayoutVars>
          <dgm:chMax val="0"/>
          <dgm:chPref val="0"/>
          <dgm:bulletEnabled val="1"/>
        </dgm:presLayoutVars>
      </dgm:prSet>
      <dgm:spPr/>
      <dgm:t>
        <a:bodyPr/>
        <a:lstStyle/>
        <a:p>
          <a:endParaRPr lang="ru-RU"/>
        </a:p>
      </dgm:t>
    </dgm:pt>
    <dgm:pt modelId="{F6A6FFC4-0BFE-4E3E-8FFF-02FF40FA9184}" type="pres">
      <dgm:prSet presAssocID="{5957BE9C-57F1-4797-9E35-4685A8065B73}" presName="parSh" presStyleLbl="node1" presStyleIdx="0" presStyleCnt="2" custLinFactNeighborX="-80" custLinFactNeighborY="5525"/>
      <dgm:spPr/>
      <dgm:t>
        <a:bodyPr/>
        <a:lstStyle/>
        <a:p>
          <a:endParaRPr lang="ru-RU"/>
        </a:p>
      </dgm:t>
    </dgm:pt>
    <dgm:pt modelId="{D6EFBD21-29CB-4407-9938-5E4B47894E29}" type="pres">
      <dgm:prSet presAssocID="{5957BE9C-57F1-4797-9E35-4685A8065B73}" presName="desTx" presStyleLbl="fgAcc1" presStyleIdx="0" presStyleCnt="2" custScaleX="99996" custScaleY="72700" custLinFactNeighborX="12696" custLinFactNeighborY="-12299">
        <dgm:presLayoutVars>
          <dgm:bulletEnabled val="1"/>
        </dgm:presLayoutVars>
      </dgm:prSet>
      <dgm:spPr/>
      <dgm:t>
        <a:bodyPr/>
        <a:lstStyle/>
        <a:p>
          <a:endParaRPr lang="ru-RU"/>
        </a:p>
      </dgm:t>
    </dgm:pt>
    <dgm:pt modelId="{6C126703-3086-4543-B3F7-2A432E78C15D}" type="pres">
      <dgm:prSet presAssocID="{B475F910-0492-47C2-8080-E478907DCB4E}" presName="sibTrans" presStyleLbl="sibTrans2D1" presStyleIdx="0" presStyleCnt="1" custAng="1483" custScaleX="134299" custScaleY="76582"/>
      <dgm:spPr/>
      <dgm:t>
        <a:bodyPr/>
        <a:lstStyle/>
        <a:p>
          <a:endParaRPr lang="ru-RU"/>
        </a:p>
      </dgm:t>
    </dgm:pt>
    <dgm:pt modelId="{ABB33F9F-161A-428A-989C-831AF104EB7E}" type="pres">
      <dgm:prSet presAssocID="{B475F910-0492-47C2-8080-E478907DCB4E}" presName="connTx" presStyleLbl="sibTrans2D1" presStyleIdx="0" presStyleCnt="1"/>
      <dgm:spPr/>
      <dgm:t>
        <a:bodyPr/>
        <a:lstStyle/>
        <a:p>
          <a:endParaRPr lang="ru-RU"/>
        </a:p>
      </dgm:t>
    </dgm:pt>
    <dgm:pt modelId="{622F1D3F-B734-4042-8BA0-210037F0B602}" type="pres">
      <dgm:prSet presAssocID="{A987E2FF-2A34-42CB-A6F8-000F303A335B}" presName="composite" presStyleCnt="0"/>
      <dgm:spPr/>
    </dgm:pt>
    <dgm:pt modelId="{52E2E1D5-01F0-4A6C-8257-230910A012B6}" type="pres">
      <dgm:prSet presAssocID="{A987E2FF-2A34-42CB-A6F8-000F303A335B}" presName="parTx" presStyleLbl="node1" presStyleIdx="0" presStyleCnt="2">
        <dgm:presLayoutVars>
          <dgm:chMax val="0"/>
          <dgm:chPref val="0"/>
          <dgm:bulletEnabled val="1"/>
        </dgm:presLayoutVars>
      </dgm:prSet>
      <dgm:spPr/>
      <dgm:t>
        <a:bodyPr/>
        <a:lstStyle/>
        <a:p>
          <a:endParaRPr lang="ru-RU"/>
        </a:p>
      </dgm:t>
    </dgm:pt>
    <dgm:pt modelId="{22F0C43D-32D2-4C75-9418-095F5BF26277}" type="pres">
      <dgm:prSet presAssocID="{A987E2FF-2A34-42CB-A6F8-000F303A335B}" presName="parSh" presStyleLbl="node1" presStyleIdx="1" presStyleCnt="2" custScaleY="100000" custLinFactNeighborX="3" custLinFactNeighborY="5826"/>
      <dgm:spPr/>
      <dgm:t>
        <a:bodyPr/>
        <a:lstStyle/>
        <a:p>
          <a:endParaRPr lang="ru-RU"/>
        </a:p>
      </dgm:t>
    </dgm:pt>
    <dgm:pt modelId="{553A8D8D-48D8-43D4-B1B5-72AE478CDAC6}" type="pres">
      <dgm:prSet presAssocID="{A987E2FF-2A34-42CB-A6F8-000F303A335B}" presName="desTx" presStyleLbl="fgAcc1" presStyleIdx="1" presStyleCnt="2" custScaleY="72725" custLinFactNeighborX="-4532" custLinFactNeighborY="-13124">
        <dgm:presLayoutVars>
          <dgm:bulletEnabled val="1"/>
        </dgm:presLayoutVars>
      </dgm:prSet>
      <dgm:spPr/>
      <dgm:t>
        <a:bodyPr/>
        <a:lstStyle/>
        <a:p>
          <a:endParaRPr lang="ru-RU"/>
        </a:p>
      </dgm:t>
    </dgm:pt>
  </dgm:ptLst>
  <dgm:cxnLst>
    <dgm:cxn modelId="{C8A3DA0C-5F1C-46F0-AEC2-6E51B9FDBBB3}" type="presOf" srcId="{5957BE9C-57F1-4797-9E35-4685A8065B73}" destId="{4101FD93-4C4C-4D53-A316-C202A9AB7D34}" srcOrd="0" destOrd="0" presId="urn:microsoft.com/office/officeart/2005/8/layout/process3"/>
    <dgm:cxn modelId="{9758C0AA-458B-4917-9888-5E670D7526D3}" type="presOf" srcId="{3534BDA6-AD30-4D3D-B4E6-4C81FAC3AAD3}" destId="{CD6E16D3-C889-4975-80D6-AB840BA23695}" srcOrd="0" destOrd="0" presId="urn:microsoft.com/office/officeart/2005/8/layout/process3"/>
    <dgm:cxn modelId="{F2F8AF8A-B34D-4698-9772-C36E81BD5667}" srcId="{A987E2FF-2A34-42CB-A6F8-000F303A335B}" destId="{3EA83D30-81ED-4859-A6CA-D783DC490314}" srcOrd="2" destOrd="0" parTransId="{64DB1813-6DD0-4D36-B948-5E3EE41400AA}" sibTransId="{4EA6E2CF-2443-45F5-A918-F599F0CDEDEA}"/>
    <dgm:cxn modelId="{8742DAB7-3EF0-4F8C-8666-66EDA08EEEDC}" srcId="{A987E2FF-2A34-42CB-A6F8-000F303A335B}" destId="{4FDA5628-C841-429F-80ED-5A8B793021BE}" srcOrd="0" destOrd="0" parTransId="{71731603-34FA-406A-B98B-3BAFFEB5B245}" sibTransId="{453FBEF5-D0E9-4CB8-9FB3-DF97F6C9F1AB}"/>
    <dgm:cxn modelId="{A4FEF4EC-6247-40AE-BE3E-0220A1B1671E}" type="presOf" srcId="{A987E2FF-2A34-42CB-A6F8-000F303A335B}" destId="{52E2E1D5-01F0-4A6C-8257-230910A012B6}" srcOrd="0" destOrd="0" presId="urn:microsoft.com/office/officeart/2005/8/layout/process3"/>
    <dgm:cxn modelId="{936A106D-11FA-4DDC-88F7-1E4A8E18684A}" type="presOf" srcId="{90E6879F-625D-42D5-BC02-15303C81ACC3}" destId="{D6EFBD21-29CB-4407-9938-5E4B47894E29}" srcOrd="0" destOrd="0" presId="urn:microsoft.com/office/officeart/2005/8/layout/process3"/>
    <dgm:cxn modelId="{4AE59984-248C-4402-89E4-BD659F88F866}" type="presOf" srcId="{B475F910-0492-47C2-8080-E478907DCB4E}" destId="{6C126703-3086-4543-B3F7-2A432E78C15D}" srcOrd="0" destOrd="0" presId="urn:microsoft.com/office/officeart/2005/8/layout/process3"/>
    <dgm:cxn modelId="{8F0B4E4A-56FE-44E1-B2E8-1885F74C4C06}" srcId="{5957BE9C-57F1-4797-9E35-4685A8065B73}" destId="{2902286C-6182-457E-9398-A829D7616EF9}" srcOrd="1" destOrd="0" parTransId="{DBC6CD11-43EF-406B-9BA4-6AB07674EB35}" sibTransId="{152851DB-C46A-4599-BCC6-BAD77855876C}"/>
    <dgm:cxn modelId="{BB94D4EA-9EAF-48D3-9584-6151AE7E91A0}" type="presOf" srcId="{2902286C-6182-457E-9398-A829D7616EF9}" destId="{D6EFBD21-29CB-4407-9938-5E4B47894E29}" srcOrd="0" destOrd="1" presId="urn:microsoft.com/office/officeart/2005/8/layout/process3"/>
    <dgm:cxn modelId="{65364977-6721-4A9D-862C-983F5109F0AF}" type="presOf" srcId="{3EA83D30-81ED-4859-A6CA-D783DC490314}" destId="{553A8D8D-48D8-43D4-B1B5-72AE478CDAC6}" srcOrd="0" destOrd="2" presId="urn:microsoft.com/office/officeart/2005/8/layout/process3"/>
    <dgm:cxn modelId="{BD0EE0A8-EB6E-493D-83B6-97E7D0E1A180}" srcId="{3534BDA6-AD30-4D3D-B4E6-4C81FAC3AAD3}" destId="{5957BE9C-57F1-4797-9E35-4685A8065B73}" srcOrd="0" destOrd="0" parTransId="{25CCF86B-1BF2-4E7F-B170-30891F33BEA6}" sibTransId="{B475F910-0492-47C2-8080-E478907DCB4E}"/>
    <dgm:cxn modelId="{9B7DB812-E779-4E7F-A932-1DA0D4B6B619}" type="presOf" srcId="{5957BE9C-57F1-4797-9E35-4685A8065B73}" destId="{F6A6FFC4-0BFE-4E3E-8FFF-02FF40FA9184}" srcOrd="1" destOrd="0" presId="urn:microsoft.com/office/officeart/2005/8/layout/process3"/>
    <dgm:cxn modelId="{FF809B68-5039-44F6-B648-864F87631447}" type="presOf" srcId="{A987E2FF-2A34-42CB-A6F8-000F303A335B}" destId="{22F0C43D-32D2-4C75-9418-095F5BF26277}" srcOrd="1" destOrd="0" presId="urn:microsoft.com/office/officeart/2005/8/layout/process3"/>
    <dgm:cxn modelId="{D82EF122-006A-4055-9978-DA1F3D0FF1B5}" type="presOf" srcId="{4FDA5628-C841-429F-80ED-5A8B793021BE}" destId="{553A8D8D-48D8-43D4-B1B5-72AE478CDAC6}" srcOrd="0" destOrd="0" presId="urn:microsoft.com/office/officeart/2005/8/layout/process3"/>
    <dgm:cxn modelId="{CB70DD8F-09DA-4BEB-8704-80154394F505}" type="presOf" srcId="{23C2F394-EBC4-4B7C-8AD2-A9536AC9DE6D}" destId="{553A8D8D-48D8-43D4-B1B5-72AE478CDAC6}" srcOrd="0" destOrd="1" presId="urn:microsoft.com/office/officeart/2005/8/layout/process3"/>
    <dgm:cxn modelId="{B78FFFBA-690C-44FF-B72D-C5B20D1324C6}" srcId="{5957BE9C-57F1-4797-9E35-4685A8065B73}" destId="{90E6879F-625D-42D5-BC02-15303C81ACC3}" srcOrd="0" destOrd="0" parTransId="{6B0BB97A-7F53-4AD8-8861-DBFBD989D792}" sibTransId="{815184F5-1CCC-4CEF-BFCB-3FBD9CC6D89F}"/>
    <dgm:cxn modelId="{CE2140D7-1353-4F32-9FA9-5B1809582019}" srcId="{3534BDA6-AD30-4D3D-B4E6-4C81FAC3AAD3}" destId="{A987E2FF-2A34-42CB-A6F8-000F303A335B}" srcOrd="1" destOrd="0" parTransId="{A4390A7C-0930-4CE2-A44E-D7F0C1093E9E}" sibTransId="{230C2A2E-B8A6-4FBF-9FC2-7ED48D4502BC}"/>
    <dgm:cxn modelId="{38B93CA5-8EE5-40D3-9E75-5BBCE71AC839}" srcId="{A987E2FF-2A34-42CB-A6F8-000F303A335B}" destId="{23C2F394-EBC4-4B7C-8AD2-A9536AC9DE6D}" srcOrd="1" destOrd="0" parTransId="{816A9EBE-35B9-4A54-9125-63DB995A169A}" sibTransId="{30A00629-DEFE-4B1C-9DB7-24F04859D771}"/>
    <dgm:cxn modelId="{D5471552-3A47-4B93-BC10-97E52F7123D8}" type="presOf" srcId="{B475F910-0492-47C2-8080-E478907DCB4E}" destId="{ABB33F9F-161A-428A-989C-831AF104EB7E}" srcOrd="1" destOrd="0" presId="urn:microsoft.com/office/officeart/2005/8/layout/process3"/>
    <dgm:cxn modelId="{B17CDFCC-0A56-49EA-99D1-FF884AE4157A}" type="presParOf" srcId="{CD6E16D3-C889-4975-80D6-AB840BA23695}" destId="{DCDFE9DC-57A5-4A4A-87A1-207B09A0CCBA}" srcOrd="0" destOrd="0" presId="urn:microsoft.com/office/officeart/2005/8/layout/process3"/>
    <dgm:cxn modelId="{C88F343F-ED81-4362-B292-C2DCA7E84FF2}" type="presParOf" srcId="{DCDFE9DC-57A5-4A4A-87A1-207B09A0CCBA}" destId="{4101FD93-4C4C-4D53-A316-C202A9AB7D34}" srcOrd="0" destOrd="0" presId="urn:microsoft.com/office/officeart/2005/8/layout/process3"/>
    <dgm:cxn modelId="{A9A94697-05A3-455E-88B3-AAE3143DE492}" type="presParOf" srcId="{DCDFE9DC-57A5-4A4A-87A1-207B09A0CCBA}" destId="{F6A6FFC4-0BFE-4E3E-8FFF-02FF40FA9184}" srcOrd="1" destOrd="0" presId="urn:microsoft.com/office/officeart/2005/8/layout/process3"/>
    <dgm:cxn modelId="{9E755EA3-AFDD-4108-A5E3-61405753FF84}" type="presParOf" srcId="{DCDFE9DC-57A5-4A4A-87A1-207B09A0CCBA}" destId="{D6EFBD21-29CB-4407-9938-5E4B47894E29}" srcOrd="2" destOrd="0" presId="urn:microsoft.com/office/officeart/2005/8/layout/process3"/>
    <dgm:cxn modelId="{D8905AD4-DE68-4616-BA14-75121BF5BAB2}" type="presParOf" srcId="{CD6E16D3-C889-4975-80D6-AB840BA23695}" destId="{6C126703-3086-4543-B3F7-2A432E78C15D}" srcOrd="1" destOrd="0" presId="urn:microsoft.com/office/officeart/2005/8/layout/process3"/>
    <dgm:cxn modelId="{85D9DAA9-8955-41EC-8CFC-9777C7F66632}" type="presParOf" srcId="{6C126703-3086-4543-B3F7-2A432E78C15D}" destId="{ABB33F9F-161A-428A-989C-831AF104EB7E}" srcOrd="0" destOrd="0" presId="urn:microsoft.com/office/officeart/2005/8/layout/process3"/>
    <dgm:cxn modelId="{28724FEF-AC23-40C2-A2FD-BE62099F0288}" type="presParOf" srcId="{CD6E16D3-C889-4975-80D6-AB840BA23695}" destId="{622F1D3F-B734-4042-8BA0-210037F0B602}" srcOrd="2" destOrd="0" presId="urn:microsoft.com/office/officeart/2005/8/layout/process3"/>
    <dgm:cxn modelId="{FD31C9DB-AABA-4681-B472-BB34ADAF465C}" type="presParOf" srcId="{622F1D3F-B734-4042-8BA0-210037F0B602}" destId="{52E2E1D5-01F0-4A6C-8257-230910A012B6}" srcOrd="0" destOrd="0" presId="urn:microsoft.com/office/officeart/2005/8/layout/process3"/>
    <dgm:cxn modelId="{1F65CDB1-F732-49D8-86ED-0B31582E3DA1}" type="presParOf" srcId="{622F1D3F-B734-4042-8BA0-210037F0B602}" destId="{22F0C43D-32D2-4C75-9418-095F5BF26277}" srcOrd="1" destOrd="0" presId="urn:microsoft.com/office/officeart/2005/8/layout/process3"/>
    <dgm:cxn modelId="{25B0773C-E08D-49E0-AA33-CF6A913BC89D}" type="presParOf" srcId="{622F1D3F-B734-4042-8BA0-210037F0B602}" destId="{553A8D8D-48D8-43D4-B1B5-72AE478CDAC6}" srcOrd="2" destOrd="0" presId="urn:microsoft.com/office/officeart/2005/8/layout/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A6FFC4-0BFE-4E3E-8FFF-02FF40FA9184}">
      <dsp:nvSpPr>
        <dsp:cNvPr id="0" name=""/>
        <dsp:cNvSpPr/>
      </dsp:nvSpPr>
      <dsp:spPr>
        <a:xfrm>
          <a:off x="1034" y="266347"/>
          <a:ext cx="2759952" cy="648000"/>
        </a:xfrm>
        <a:prstGeom prst="roundRect">
          <a:avLst>
            <a:gd name="adj" fmla="val 10000"/>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53340" numCol="1" spcCol="1270" anchor="t" anchorCtr="0">
          <a:noAutofit/>
        </a:bodyPr>
        <a:lstStyle/>
        <a:p>
          <a:pPr lvl="0" algn="l" defTabSz="622300" rtl="0">
            <a:lnSpc>
              <a:spcPct val="100000"/>
            </a:lnSpc>
            <a:spcBef>
              <a:spcPct val="0"/>
            </a:spcBef>
            <a:spcAft>
              <a:spcPts val="800"/>
            </a:spcAft>
          </a:pPr>
          <a:r>
            <a:rPr lang="ru-RU" sz="1400" i="0" kern="1200" dirty="0" smtClean="0">
              <a:solidFill>
                <a:schemeClr val="tx1"/>
              </a:solidFill>
              <a:latin typeface="+mj-lt"/>
            </a:rPr>
            <a:t>ФОРМИРОВАНИЕ КОРЗИН</a:t>
          </a:r>
          <a:endParaRPr lang="ru-RU" sz="1400" i="0" kern="1200" dirty="0">
            <a:solidFill>
              <a:schemeClr val="tx1"/>
            </a:solidFill>
            <a:latin typeface="+mj-lt"/>
          </a:endParaRPr>
        </a:p>
      </dsp:txBody>
      <dsp:txXfrm>
        <a:off x="1034" y="266347"/>
        <a:ext cx="2759952" cy="432000"/>
      </dsp:txXfrm>
    </dsp:sp>
    <dsp:sp modelId="{D6EFBD21-29CB-4407-9938-5E4B47894E29}">
      <dsp:nvSpPr>
        <dsp:cNvPr id="0" name=""/>
        <dsp:cNvSpPr/>
      </dsp:nvSpPr>
      <dsp:spPr>
        <a:xfrm>
          <a:off x="918992" y="713156"/>
          <a:ext cx="2759841" cy="2723523"/>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rtl="0">
            <a:lnSpc>
              <a:spcPct val="110000"/>
            </a:lnSpc>
            <a:spcBef>
              <a:spcPct val="0"/>
            </a:spcBef>
            <a:spcAft>
              <a:spcPct val="15000"/>
            </a:spcAft>
            <a:buChar char="••"/>
          </a:pPr>
          <a:r>
            <a:rPr lang="ru-RU" sz="1300" i="0" kern="1200" dirty="0" smtClean="0">
              <a:solidFill>
                <a:schemeClr val="tx1"/>
              </a:solidFill>
              <a:latin typeface="+mj-lt"/>
            </a:rPr>
            <a:t>Ежегодный анализ  и отбор компаний по показателям устойчивого развития и корпоративной социальной ответственности. </a:t>
          </a:r>
          <a:endParaRPr lang="ru-RU" sz="1300" kern="1200" dirty="0"/>
        </a:p>
        <a:p>
          <a:pPr marL="114300" lvl="1" indent="-114300" algn="l" defTabSz="577850" rtl="0">
            <a:lnSpc>
              <a:spcPct val="110000"/>
            </a:lnSpc>
            <a:spcBef>
              <a:spcPct val="0"/>
            </a:spcBef>
            <a:spcAft>
              <a:spcPct val="15000"/>
            </a:spcAft>
            <a:buChar char="••"/>
          </a:pPr>
          <a:r>
            <a:rPr lang="ru-RU" sz="1300" i="0" kern="1200" dirty="0" smtClean="0">
              <a:solidFill>
                <a:schemeClr val="tx1"/>
              </a:solidFill>
              <a:latin typeface="+mj-lt"/>
            </a:rPr>
            <a:t>Формирование состава индексных корзин на основании </a:t>
          </a:r>
          <a:r>
            <a:rPr lang="ru-RU" sz="1300" i="0" kern="1200" dirty="0" err="1" smtClean="0">
              <a:solidFill>
                <a:schemeClr val="tx1"/>
              </a:solidFill>
              <a:latin typeface="+mj-lt"/>
            </a:rPr>
            <a:t>рэнкингов</a:t>
          </a:r>
          <a:r>
            <a:rPr lang="ru-RU" sz="1300" i="0" kern="1200" dirty="0" smtClean="0">
              <a:solidFill>
                <a:schemeClr val="tx1"/>
              </a:solidFill>
              <a:latin typeface="+mj-lt"/>
            </a:rPr>
            <a:t> устойчивого развития.</a:t>
          </a:r>
          <a:endParaRPr lang="ru-RU" sz="1300" i="0" kern="1200" dirty="0">
            <a:solidFill>
              <a:schemeClr val="tx1"/>
            </a:solidFill>
            <a:latin typeface="+mj-lt"/>
          </a:endParaRPr>
        </a:p>
      </dsp:txBody>
      <dsp:txXfrm>
        <a:off x="998761" y="792925"/>
        <a:ext cx="2600303" cy="2563985"/>
      </dsp:txXfrm>
    </dsp:sp>
    <dsp:sp modelId="{6C126703-3086-4543-B3F7-2A432E78C15D}">
      <dsp:nvSpPr>
        <dsp:cNvPr id="0" name=""/>
        <dsp:cNvSpPr/>
      </dsp:nvSpPr>
      <dsp:spPr>
        <a:xfrm rot="2813">
          <a:off x="3027624" y="220099"/>
          <a:ext cx="1192830" cy="526231"/>
        </a:xfrm>
        <a:prstGeom prst="rightArrow">
          <a:avLst>
            <a:gd name="adj1" fmla="val 60000"/>
            <a:gd name="adj2" fmla="val 50000"/>
          </a:avLst>
        </a:prstGeom>
        <a:gradFill flip="none" rotWithShape="0">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ru-RU" sz="1000" kern="1200"/>
        </a:p>
      </dsp:txBody>
      <dsp:txXfrm>
        <a:off x="3027624" y="325280"/>
        <a:ext cx="1034961" cy="315739"/>
      </dsp:txXfrm>
    </dsp:sp>
    <dsp:sp modelId="{22F0C43D-32D2-4C75-9418-095F5BF26277}">
      <dsp:nvSpPr>
        <dsp:cNvPr id="0" name=""/>
        <dsp:cNvSpPr/>
      </dsp:nvSpPr>
      <dsp:spPr>
        <a:xfrm>
          <a:off x="4436817" y="268063"/>
          <a:ext cx="2759952" cy="648000"/>
        </a:xfrm>
        <a:prstGeom prst="roundRect">
          <a:avLst>
            <a:gd name="adj" fmla="val 10000"/>
          </a:avLst>
        </a:prstGeom>
        <a:gradFill flip="none" rotWithShape="0">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568" tIns="99568" rIns="99568" bIns="53340" numCol="1" spcCol="1270" anchor="t" anchorCtr="0">
          <a:noAutofit/>
        </a:bodyPr>
        <a:lstStyle/>
        <a:p>
          <a:pPr lvl="0" algn="l" defTabSz="622300" rtl="0">
            <a:lnSpc>
              <a:spcPct val="100000"/>
            </a:lnSpc>
            <a:spcBef>
              <a:spcPct val="0"/>
            </a:spcBef>
            <a:spcAft>
              <a:spcPts val="800"/>
            </a:spcAft>
          </a:pPr>
          <a:r>
            <a:rPr lang="ru-RU" sz="1400" i="0" kern="1200" dirty="0" smtClean="0">
              <a:solidFill>
                <a:schemeClr val="tx1"/>
              </a:solidFill>
            </a:rPr>
            <a:t>КАЛЬКУЛИРУЮЩИЙ АГЕНТ</a:t>
          </a:r>
          <a:endParaRPr lang="ru-RU" sz="1400" i="0" kern="1200" dirty="0">
            <a:solidFill>
              <a:schemeClr val="tx1"/>
            </a:solidFill>
          </a:endParaRPr>
        </a:p>
      </dsp:txBody>
      <dsp:txXfrm>
        <a:off x="4436817" y="268063"/>
        <a:ext cx="2759952" cy="432000"/>
      </dsp:txXfrm>
    </dsp:sp>
    <dsp:sp modelId="{553A8D8D-48D8-43D4-B1B5-72AE478CDAC6}">
      <dsp:nvSpPr>
        <dsp:cNvPr id="0" name=""/>
        <dsp:cNvSpPr/>
      </dsp:nvSpPr>
      <dsp:spPr>
        <a:xfrm>
          <a:off x="4876945" y="681547"/>
          <a:ext cx="2759952" cy="272446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rtl="0">
            <a:lnSpc>
              <a:spcPct val="110000"/>
            </a:lnSpc>
            <a:spcBef>
              <a:spcPct val="0"/>
            </a:spcBef>
            <a:spcAft>
              <a:spcPct val="15000"/>
            </a:spcAft>
            <a:buChar char="••"/>
          </a:pPr>
          <a:r>
            <a:rPr lang="ru-RU" sz="1300" i="0" kern="1200" dirty="0" smtClean="0">
              <a:solidFill>
                <a:schemeClr val="tx1"/>
              </a:solidFill>
            </a:rPr>
            <a:t>Отбор среди лидеров УР и КСО эмитентов, акции которых торгуются на Бирже. </a:t>
          </a:r>
          <a:endParaRPr lang="ru-RU" sz="1300" kern="1200" dirty="0"/>
        </a:p>
        <a:p>
          <a:pPr marL="114300" lvl="1" indent="-114300" algn="l" defTabSz="577850" rtl="0">
            <a:lnSpc>
              <a:spcPct val="110000"/>
            </a:lnSpc>
            <a:spcBef>
              <a:spcPct val="0"/>
            </a:spcBef>
            <a:spcAft>
              <a:spcPct val="15000"/>
            </a:spcAft>
            <a:buChar char="••"/>
          </a:pPr>
          <a:r>
            <a:rPr lang="ru-RU" sz="1300" i="0" kern="1200" dirty="0" smtClean="0">
              <a:solidFill>
                <a:schemeClr val="tx1"/>
              </a:solidFill>
            </a:rPr>
            <a:t>Формирование веса акций в корзине на основании капитализации, </a:t>
          </a:r>
          <a:r>
            <a:rPr lang="en-US" sz="1300" i="0" kern="1200" dirty="0" smtClean="0">
              <a:solidFill>
                <a:schemeClr val="tx1"/>
              </a:solidFill>
            </a:rPr>
            <a:t>free-float </a:t>
          </a:r>
          <a:r>
            <a:rPr lang="ru-RU" sz="1300" i="0" kern="1200" dirty="0" smtClean="0">
              <a:solidFill>
                <a:schemeClr val="tx1"/>
              </a:solidFill>
            </a:rPr>
            <a:t>и </a:t>
          </a:r>
          <a:r>
            <a:rPr lang="ru-RU" sz="1300" i="0" kern="1200" dirty="0" err="1" smtClean="0">
              <a:solidFill>
                <a:schemeClr val="tx1"/>
              </a:solidFill>
            </a:rPr>
            <a:t>рэнкингов</a:t>
          </a:r>
          <a:r>
            <a:rPr lang="ru-RU" sz="1300" i="0" kern="1200" dirty="0" smtClean="0">
              <a:solidFill>
                <a:schemeClr val="tx1"/>
              </a:solidFill>
            </a:rPr>
            <a:t> РСПП.</a:t>
          </a:r>
          <a:endParaRPr lang="ru-RU" sz="1300" i="0" kern="1200" dirty="0" smtClean="0">
            <a:solidFill>
              <a:schemeClr val="tx1"/>
            </a:solidFill>
          </a:endParaRPr>
        </a:p>
        <a:p>
          <a:pPr marL="114300" lvl="1" indent="-114300" algn="l" defTabSz="577850" rtl="0">
            <a:lnSpc>
              <a:spcPct val="110000"/>
            </a:lnSpc>
            <a:spcBef>
              <a:spcPct val="0"/>
            </a:spcBef>
            <a:spcAft>
              <a:spcPct val="15000"/>
            </a:spcAft>
            <a:buChar char="••"/>
          </a:pPr>
          <a:r>
            <a:rPr lang="ru-RU" sz="1300" i="0" kern="1200" dirty="0" smtClean="0">
              <a:solidFill>
                <a:schemeClr val="tx1"/>
              </a:solidFill>
            </a:rPr>
            <a:t>Моделирование ежедневных значений фондовых индексов устойчивого развития</a:t>
          </a:r>
          <a:r>
            <a:rPr lang="ru-RU" sz="1300" i="1" kern="1200" dirty="0" smtClean="0">
              <a:solidFill>
                <a:schemeClr val="tx1"/>
              </a:solidFill>
            </a:rPr>
            <a:t>.</a:t>
          </a:r>
          <a:endParaRPr lang="ru-RU" sz="1300" i="1" kern="1200" dirty="0">
            <a:solidFill>
              <a:schemeClr val="tx1"/>
            </a:solidFill>
          </a:endParaRPr>
        </a:p>
      </dsp:txBody>
      <dsp:txXfrm>
        <a:off x="4956742" y="761344"/>
        <a:ext cx="2600358" cy="256486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64706</cdr:x>
      <cdr:y>0.93737</cdr:y>
    </cdr:from>
    <cdr:to>
      <cdr:x>0.98599</cdr:x>
      <cdr:y>1</cdr:y>
    </cdr:to>
    <cdr:sp macro="" textlink="">
      <cdr:nvSpPr>
        <cdr:cNvPr id="2" name="TextBox 1"/>
        <cdr:cNvSpPr txBox="1"/>
      </cdr:nvSpPr>
      <cdr:spPr>
        <a:xfrm xmlns:a="http://schemas.openxmlformats.org/drawingml/2006/main">
          <a:off x="4400551" y="4419599"/>
          <a:ext cx="2305050" cy="2952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3"/>
            <a:ext cx="3079202" cy="512305"/>
          </a:xfrm>
          <a:prstGeom prst="rect">
            <a:avLst/>
          </a:prstGeom>
        </p:spPr>
        <p:txBody>
          <a:bodyPr vert="horz" lIns="94787" tIns="47393" rIns="94787" bIns="47393" rtlCol="0"/>
          <a:lstStyle>
            <a:lvl1pPr algn="l">
              <a:defRPr sz="1200"/>
            </a:lvl1pPr>
          </a:lstStyle>
          <a:p>
            <a:endParaRPr lang="ru-RU"/>
          </a:p>
        </p:txBody>
      </p:sp>
      <p:sp>
        <p:nvSpPr>
          <p:cNvPr id="3" name="Дата 2"/>
          <p:cNvSpPr>
            <a:spLocks noGrp="1"/>
          </p:cNvSpPr>
          <p:nvPr>
            <p:ph type="dt" sz="quarter" idx="1"/>
          </p:nvPr>
        </p:nvSpPr>
        <p:spPr>
          <a:xfrm>
            <a:off x="4023204" y="3"/>
            <a:ext cx="3079202" cy="512305"/>
          </a:xfrm>
          <a:prstGeom prst="rect">
            <a:avLst/>
          </a:prstGeom>
        </p:spPr>
        <p:txBody>
          <a:bodyPr vert="horz" lIns="94787" tIns="47393" rIns="94787" bIns="47393" rtlCol="0"/>
          <a:lstStyle>
            <a:lvl1pPr algn="r">
              <a:defRPr sz="1200"/>
            </a:lvl1pPr>
          </a:lstStyle>
          <a:p>
            <a:fld id="{3DCEB374-41A0-443C-B32C-E3905117CC65}" type="datetimeFigureOut">
              <a:rPr lang="ru-RU" smtClean="0"/>
              <a:t>07.12.2018</a:t>
            </a:fld>
            <a:endParaRPr lang="ru-RU"/>
          </a:p>
        </p:txBody>
      </p:sp>
      <p:sp>
        <p:nvSpPr>
          <p:cNvPr id="4" name="Нижний колонтитул 3"/>
          <p:cNvSpPr>
            <a:spLocks noGrp="1"/>
          </p:cNvSpPr>
          <p:nvPr>
            <p:ph type="ftr" sz="quarter" idx="2"/>
          </p:nvPr>
        </p:nvSpPr>
        <p:spPr>
          <a:xfrm>
            <a:off x="0" y="9722311"/>
            <a:ext cx="3079202" cy="512305"/>
          </a:xfrm>
          <a:prstGeom prst="rect">
            <a:avLst/>
          </a:prstGeom>
        </p:spPr>
        <p:txBody>
          <a:bodyPr vert="horz" lIns="94787" tIns="47393" rIns="94787" bIns="47393" rtlCol="0" anchor="b"/>
          <a:lstStyle>
            <a:lvl1pPr algn="l">
              <a:defRPr sz="1200"/>
            </a:lvl1pPr>
          </a:lstStyle>
          <a:p>
            <a:endParaRPr lang="ru-RU"/>
          </a:p>
        </p:txBody>
      </p:sp>
      <p:sp>
        <p:nvSpPr>
          <p:cNvPr id="5" name="Номер слайда 4"/>
          <p:cNvSpPr>
            <a:spLocks noGrp="1"/>
          </p:cNvSpPr>
          <p:nvPr>
            <p:ph type="sldNum" sz="quarter" idx="3"/>
          </p:nvPr>
        </p:nvSpPr>
        <p:spPr>
          <a:xfrm>
            <a:off x="4023204" y="9722311"/>
            <a:ext cx="3079202" cy="512305"/>
          </a:xfrm>
          <a:prstGeom prst="rect">
            <a:avLst/>
          </a:prstGeom>
        </p:spPr>
        <p:txBody>
          <a:bodyPr vert="horz" lIns="94787" tIns="47393" rIns="94787" bIns="47393" rtlCol="0" anchor="b"/>
          <a:lstStyle>
            <a:lvl1pPr algn="r">
              <a:defRPr sz="1200"/>
            </a:lvl1pPr>
          </a:lstStyle>
          <a:p>
            <a:fld id="{18BAFE94-29EB-4ACF-A3F7-467CE23BC26E}" type="slidenum">
              <a:rPr lang="ru-RU" smtClean="0"/>
              <a:t>‹#›</a:t>
            </a:fld>
            <a:endParaRPr lang="ru-RU"/>
          </a:p>
        </p:txBody>
      </p:sp>
    </p:spTree>
    <p:extLst>
      <p:ext uri="{BB962C8B-B14F-4D97-AF65-F5344CB8AC3E}">
        <p14:creationId xmlns:p14="http://schemas.microsoft.com/office/powerpoint/2010/main" val="635946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3"/>
            <a:ext cx="3079202" cy="512305"/>
          </a:xfrm>
          <a:prstGeom prst="rect">
            <a:avLst/>
          </a:prstGeom>
        </p:spPr>
        <p:txBody>
          <a:bodyPr vert="horz" lIns="94787" tIns="47393" rIns="94787" bIns="47393" rtlCol="0"/>
          <a:lstStyle>
            <a:lvl1pPr algn="l">
              <a:defRPr sz="1200"/>
            </a:lvl1pPr>
          </a:lstStyle>
          <a:p>
            <a:endParaRPr lang="ru-RU"/>
          </a:p>
        </p:txBody>
      </p:sp>
      <p:sp>
        <p:nvSpPr>
          <p:cNvPr id="3" name="Дата 2"/>
          <p:cNvSpPr>
            <a:spLocks noGrp="1"/>
          </p:cNvSpPr>
          <p:nvPr>
            <p:ph type="dt" idx="1"/>
          </p:nvPr>
        </p:nvSpPr>
        <p:spPr>
          <a:xfrm>
            <a:off x="4023204" y="3"/>
            <a:ext cx="3079202" cy="512305"/>
          </a:xfrm>
          <a:prstGeom prst="rect">
            <a:avLst/>
          </a:prstGeom>
        </p:spPr>
        <p:txBody>
          <a:bodyPr vert="horz" lIns="94787" tIns="47393" rIns="94787" bIns="47393" rtlCol="0"/>
          <a:lstStyle>
            <a:lvl1pPr algn="r">
              <a:defRPr sz="1200"/>
            </a:lvl1pPr>
          </a:lstStyle>
          <a:p>
            <a:fld id="{7C4D9C40-4252-4F61-9AE1-0F8386295F11}" type="datetimeFigureOut">
              <a:rPr lang="ru-RU" smtClean="0"/>
              <a:t>07.12.2018</a:t>
            </a:fld>
            <a:endParaRPr lang="ru-RU"/>
          </a:p>
        </p:txBody>
      </p:sp>
      <p:sp>
        <p:nvSpPr>
          <p:cNvPr id="4" name="Образ слайда 3"/>
          <p:cNvSpPr>
            <a:spLocks noGrp="1" noRot="1" noChangeAspect="1"/>
          </p:cNvSpPr>
          <p:nvPr>
            <p:ph type="sldImg" idx="2"/>
          </p:nvPr>
        </p:nvSpPr>
        <p:spPr>
          <a:xfrm>
            <a:off x="1058863" y="1281113"/>
            <a:ext cx="4986337" cy="3451225"/>
          </a:xfrm>
          <a:prstGeom prst="rect">
            <a:avLst/>
          </a:prstGeom>
          <a:noFill/>
          <a:ln w="12700">
            <a:solidFill>
              <a:prstClr val="black"/>
            </a:solidFill>
          </a:ln>
        </p:spPr>
        <p:txBody>
          <a:bodyPr vert="horz" lIns="94787" tIns="47393" rIns="94787" bIns="47393" rtlCol="0" anchor="ctr"/>
          <a:lstStyle/>
          <a:p>
            <a:endParaRPr lang="ru-RU"/>
          </a:p>
        </p:txBody>
      </p:sp>
      <p:sp>
        <p:nvSpPr>
          <p:cNvPr id="5" name="Заметки 4"/>
          <p:cNvSpPr>
            <a:spLocks noGrp="1"/>
          </p:cNvSpPr>
          <p:nvPr>
            <p:ph type="body" sz="quarter" idx="3"/>
          </p:nvPr>
        </p:nvSpPr>
        <p:spPr>
          <a:xfrm>
            <a:off x="710076" y="4924990"/>
            <a:ext cx="5683914" cy="4029684"/>
          </a:xfrm>
          <a:prstGeom prst="rect">
            <a:avLst/>
          </a:prstGeom>
        </p:spPr>
        <p:txBody>
          <a:bodyPr vert="horz" lIns="94787" tIns="47393" rIns="94787" bIns="47393"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722311"/>
            <a:ext cx="3079202" cy="512305"/>
          </a:xfrm>
          <a:prstGeom prst="rect">
            <a:avLst/>
          </a:prstGeom>
        </p:spPr>
        <p:txBody>
          <a:bodyPr vert="horz" lIns="94787" tIns="47393" rIns="94787" bIns="47393" rtlCol="0" anchor="b"/>
          <a:lstStyle>
            <a:lvl1pPr algn="l">
              <a:defRPr sz="1200"/>
            </a:lvl1pPr>
          </a:lstStyle>
          <a:p>
            <a:endParaRPr lang="ru-RU"/>
          </a:p>
        </p:txBody>
      </p:sp>
      <p:sp>
        <p:nvSpPr>
          <p:cNvPr id="7" name="Номер слайда 6"/>
          <p:cNvSpPr>
            <a:spLocks noGrp="1"/>
          </p:cNvSpPr>
          <p:nvPr>
            <p:ph type="sldNum" sz="quarter" idx="5"/>
          </p:nvPr>
        </p:nvSpPr>
        <p:spPr>
          <a:xfrm>
            <a:off x="4023204" y="9722311"/>
            <a:ext cx="3079202" cy="512305"/>
          </a:xfrm>
          <a:prstGeom prst="rect">
            <a:avLst/>
          </a:prstGeom>
        </p:spPr>
        <p:txBody>
          <a:bodyPr vert="horz" lIns="94787" tIns="47393" rIns="94787" bIns="47393" rtlCol="0" anchor="b"/>
          <a:lstStyle>
            <a:lvl1pPr algn="r">
              <a:defRPr sz="1200"/>
            </a:lvl1pPr>
          </a:lstStyle>
          <a:p>
            <a:fld id="{F84D4077-6A83-4EC6-997D-60413CBB811D}" type="slidenum">
              <a:rPr lang="ru-RU" smtClean="0"/>
              <a:t>‹#›</a:t>
            </a:fld>
            <a:endParaRPr lang="ru-RU"/>
          </a:p>
        </p:txBody>
      </p:sp>
    </p:spTree>
    <p:extLst>
      <p:ext uri="{BB962C8B-B14F-4D97-AF65-F5344CB8AC3E}">
        <p14:creationId xmlns:p14="http://schemas.microsoft.com/office/powerpoint/2010/main" val="1818416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58863" y="1281113"/>
            <a:ext cx="4986337" cy="3451225"/>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1047466-5782-4F45-AFEE-AD15D659BCAC}" type="slidenum">
              <a:rPr lang="ru-RU" smtClean="0">
                <a:solidFill>
                  <a:prstClr val="black"/>
                </a:solidFill>
              </a:rPr>
              <a:pPr/>
              <a:t>1</a:t>
            </a:fld>
            <a:endParaRPr lang="ru-RU">
              <a:solidFill>
                <a:prstClr val="black"/>
              </a:solidFill>
            </a:endParaRPr>
          </a:p>
        </p:txBody>
      </p:sp>
    </p:spTree>
    <p:extLst>
      <p:ext uri="{BB962C8B-B14F-4D97-AF65-F5344CB8AC3E}">
        <p14:creationId xmlns:p14="http://schemas.microsoft.com/office/powerpoint/2010/main" val="1173113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030288" y="706438"/>
            <a:ext cx="5105400" cy="3535362"/>
          </a:xfrm>
        </p:spPr>
      </p:sp>
      <p:sp>
        <p:nvSpPr>
          <p:cNvPr id="3" name="Заметки 2"/>
          <p:cNvSpPr>
            <a:spLocks noGrp="1"/>
          </p:cNvSpPr>
          <p:nvPr>
            <p:ph type="body" idx="1"/>
          </p:nvPr>
        </p:nvSpPr>
        <p:spPr/>
        <p:txBody>
          <a:bodyPr/>
          <a:lstStyle/>
          <a:p>
            <a:r>
              <a:rPr lang="en-US" dirty="0" smtClean="0"/>
              <a:t>Thank</a:t>
            </a:r>
            <a:r>
              <a:rPr lang="en-US" baseline="0" dirty="0" smtClean="0"/>
              <a:t> you and have good day!</a:t>
            </a:r>
            <a:endParaRPr lang="ru-RU" dirty="0"/>
          </a:p>
        </p:txBody>
      </p:sp>
      <p:sp>
        <p:nvSpPr>
          <p:cNvPr id="4" name="Номер слайда 3"/>
          <p:cNvSpPr>
            <a:spLocks noGrp="1"/>
          </p:cNvSpPr>
          <p:nvPr>
            <p:ph type="sldNum" sz="quarter" idx="10"/>
          </p:nvPr>
        </p:nvSpPr>
        <p:spPr/>
        <p:txBody>
          <a:bodyPr/>
          <a:lstStyle/>
          <a:p>
            <a:fld id="{4A23265F-5FF9-440B-8059-D615E666A54B}" type="slidenum">
              <a:rPr lang="ru-RU" smtClean="0"/>
              <a:t>9</a:t>
            </a:fld>
            <a:endParaRPr lang="ru-RU"/>
          </a:p>
        </p:txBody>
      </p:sp>
    </p:spTree>
    <p:extLst>
      <p:ext uri="{BB962C8B-B14F-4D97-AF65-F5344CB8AC3E}">
        <p14:creationId xmlns:p14="http://schemas.microsoft.com/office/powerpoint/2010/main" val="7190071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 Титульный слайд_">
    <p:spTree>
      <p:nvGrpSpPr>
        <p:cNvPr id="1" name=""/>
        <p:cNvGrpSpPr/>
        <p:nvPr/>
      </p:nvGrpSpPr>
      <p:grpSpPr>
        <a:xfrm>
          <a:off x="0" y="0"/>
          <a:ext cx="0" cy="0"/>
          <a:chOff x="0" y="0"/>
          <a:chExt cx="0" cy="0"/>
        </a:xfrm>
      </p:grpSpPr>
      <p:pic>
        <p:nvPicPr>
          <p:cNvPr id="2050"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72998" y="252000"/>
            <a:ext cx="4413301" cy="6370261"/>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5148000" y="4291200"/>
            <a:ext cx="4407000" cy="648000"/>
          </a:xfrm>
          <a:prstGeom prst="rect">
            <a:avLst/>
          </a:prstGeom>
        </p:spPr>
        <p:txBody>
          <a:bodyPr anchor="t" anchorCtr="0">
            <a:noAutofit/>
          </a:bodyPr>
          <a:lstStyle>
            <a:lvl1pPr algn="l">
              <a:lnSpc>
                <a:spcPct val="100000"/>
              </a:lnSpc>
              <a:defRPr sz="894"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pic>
        <p:nvPicPr>
          <p:cNvPr id="7"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81486" y="252000"/>
            <a:ext cx="2495564" cy="582398"/>
          </a:xfrm>
          <a:prstGeom prst="rect">
            <a:avLst/>
          </a:prstGeom>
          <a:noFill/>
          <a:extLst>
            <a:ext uri="{909E8E84-426E-40DD-AFC4-6F175D3DCCD1}">
              <a14:hiddenFill xmlns:a14="http://schemas.microsoft.com/office/drawing/2010/main">
                <a:solidFill>
                  <a:srgbClr val="FFFFFF"/>
                </a:solidFill>
              </a14:hiddenFill>
            </a:ext>
          </a:extLst>
        </p:spPr>
      </p:pic>
      <p:sp>
        <p:nvSpPr>
          <p:cNvPr id="8" name="Текст 3"/>
          <p:cNvSpPr>
            <a:spLocks noGrp="1"/>
          </p:cNvSpPr>
          <p:nvPr>
            <p:ph type="body" sz="half" idx="2" hasCustomPrompt="1"/>
          </p:nvPr>
        </p:nvSpPr>
        <p:spPr>
          <a:xfrm>
            <a:off x="5148004" y="5083200"/>
            <a:ext cx="4524503" cy="1368000"/>
          </a:xfrm>
          <a:prstGeom prst="rect">
            <a:avLst/>
          </a:prstGeom>
        </p:spPr>
        <p:txBody>
          <a:bodyPr>
            <a:normAutofit/>
          </a:bodyPr>
          <a:lstStyle>
            <a:lvl1pPr marL="0" indent="0">
              <a:lnSpc>
                <a:spcPct val="100000"/>
              </a:lnSpc>
              <a:spcBef>
                <a:spcPts val="0"/>
              </a:spcBef>
              <a:buNone/>
              <a:defRPr lang="ru-RU" sz="1463" b="1" kern="1200" baseline="0" dirty="0" smtClean="0">
                <a:solidFill>
                  <a:schemeClr val="tx1"/>
                </a:solidFill>
                <a:latin typeface="+mj-lt"/>
                <a:ea typeface="Verdana" pitchFamily="34" charset="0"/>
                <a:cs typeface="Verdana" pitchFamily="34" charset="0"/>
              </a:defRPr>
            </a:lvl1pPr>
            <a:lvl2pPr marL="371466" indent="0">
              <a:buNone/>
              <a:defRPr sz="975"/>
            </a:lvl2pPr>
            <a:lvl3pPr marL="742931" indent="0">
              <a:buNone/>
              <a:defRPr sz="813"/>
            </a:lvl3pPr>
            <a:lvl4pPr marL="1114398" indent="0">
              <a:buNone/>
              <a:defRPr sz="731"/>
            </a:lvl4pPr>
            <a:lvl5pPr marL="1485863" indent="0">
              <a:buNone/>
              <a:defRPr sz="731"/>
            </a:lvl5pPr>
            <a:lvl6pPr marL="1857329" indent="0">
              <a:buNone/>
              <a:defRPr sz="731"/>
            </a:lvl6pPr>
            <a:lvl7pPr marL="2228794" indent="0">
              <a:buNone/>
              <a:defRPr sz="731"/>
            </a:lvl7pPr>
            <a:lvl8pPr marL="2600260" indent="0">
              <a:buNone/>
              <a:defRPr sz="731"/>
            </a:lvl8pPr>
            <a:lvl9pPr marL="2971726" indent="0">
              <a:buNone/>
              <a:defRPr sz="731"/>
            </a:lvl9pPr>
          </a:lstStyle>
          <a:p>
            <a:pPr marL="0" lvl="0" indent="0" algn="l" defTabSz="742931" rtl="0" eaLnBrk="1" latinLnBrk="0" hangingPunct="1">
              <a:lnSpc>
                <a:spcPct val="100000"/>
              </a:lnSpc>
              <a:spcBef>
                <a:spcPts val="0"/>
              </a:spcBef>
              <a:buFont typeface="Arial" pitchFamily="34" charset="0"/>
              <a:buNone/>
            </a:pPr>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Tree>
    <p:extLst>
      <p:ext uri="{BB962C8B-B14F-4D97-AF65-F5344CB8AC3E}">
        <p14:creationId xmlns:p14="http://schemas.microsoft.com/office/powerpoint/2010/main" val="164378030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6463" y="289576"/>
            <a:ext cx="9595066" cy="403120"/>
          </a:xfrm>
          <a:prstGeom prst="rect">
            <a:avLst/>
          </a:prstGeom>
        </p:spPr>
        <p:txBody>
          <a:bodyPr anchor="t" anchorCtr="0">
            <a:noAutofit/>
          </a:bodyPr>
          <a:lstStyle>
            <a:lvl1pPr algn="l">
              <a:defRPr sz="1600"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894">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8"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116463" y="6187889"/>
            <a:ext cx="1706400" cy="402211"/>
          </a:xfrm>
          <a:prstGeom prst="rect">
            <a:avLst/>
          </a:prstGeom>
          <a:noFill/>
          <a:ln w="9525">
            <a:noFill/>
            <a:miter lim="800000"/>
            <a:headEnd/>
            <a:tailEnd/>
          </a:ln>
        </p:spPr>
      </p:pic>
    </p:spTree>
    <p:extLst>
      <p:ext uri="{BB962C8B-B14F-4D97-AF65-F5344CB8AC3E}">
        <p14:creationId xmlns:p14="http://schemas.microsoft.com/office/powerpoint/2010/main" val="156692413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01_ Титульный слайд_">
    <p:spTree>
      <p:nvGrpSpPr>
        <p:cNvPr id="1" name=""/>
        <p:cNvGrpSpPr/>
        <p:nvPr/>
      </p:nvGrpSpPr>
      <p:grpSpPr>
        <a:xfrm>
          <a:off x="0" y="0"/>
          <a:ext cx="0" cy="0"/>
          <a:chOff x="0" y="0"/>
          <a:chExt cx="0" cy="0"/>
        </a:xfrm>
      </p:grpSpPr>
      <p:pic>
        <p:nvPicPr>
          <p:cNvPr id="2050"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73000" y="252000"/>
            <a:ext cx="4382569"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5148000" y="4291200"/>
            <a:ext cx="4407000" cy="648000"/>
          </a:xfrm>
          <a:prstGeom prst="rect">
            <a:avLst/>
          </a:prstGeom>
        </p:spPr>
        <p:txBody>
          <a:bodyPr anchor="t" anchorCtr="0">
            <a:noAutofit/>
          </a:bodyPr>
          <a:lstStyle>
            <a:lvl1pPr algn="l">
              <a:lnSpc>
                <a:spcPct val="100000"/>
              </a:lnSpc>
              <a:defRPr sz="12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5148004" y="5083200"/>
            <a:ext cx="4524503" cy="1368000"/>
          </a:xfrm>
          <a:prstGeom prst="rect">
            <a:avLst/>
          </a:prstGeom>
        </p:spPr>
        <p:txBody>
          <a:bodyPr>
            <a:normAutofit/>
          </a:bodyPr>
          <a:lstStyle>
            <a:lvl1pPr marL="0" indent="0">
              <a:lnSpc>
                <a:spcPct val="100000"/>
              </a:lnSpc>
              <a:spcBef>
                <a:spcPts val="0"/>
              </a:spcBef>
              <a:buNone/>
              <a:defRPr sz="2400" baseline="0">
                <a:latin typeface="+mj-lt"/>
                <a:ea typeface="Verdana" pitchFamily="34" charset="0"/>
                <a:cs typeface="Verdana" pitchFamily="34" charset="0"/>
              </a:defRPr>
            </a:lvl1pPr>
            <a:lvl2pPr marL="371466" indent="0">
              <a:buNone/>
              <a:defRPr sz="975"/>
            </a:lvl2pPr>
            <a:lvl3pPr marL="742931" indent="0">
              <a:buNone/>
              <a:defRPr sz="813"/>
            </a:lvl3pPr>
            <a:lvl4pPr marL="1114398" indent="0">
              <a:buNone/>
              <a:defRPr sz="731"/>
            </a:lvl4pPr>
            <a:lvl5pPr marL="1485863" indent="0">
              <a:buNone/>
              <a:defRPr sz="731"/>
            </a:lvl5pPr>
            <a:lvl6pPr marL="1857329" indent="0">
              <a:buNone/>
              <a:defRPr sz="731"/>
            </a:lvl6pPr>
            <a:lvl7pPr marL="2228794" indent="0">
              <a:buNone/>
              <a:defRPr sz="731"/>
            </a:lvl7pPr>
            <a:lvl8pPr marL="2600260" indent="0">
              <a:buNone/>
              <a:defRPr sz="731"/>
            </a:lvl8pPr>
            <a:lvl9pPr marL="2971726" indent="0">
              <a:buNone/>
              <a:defRPr sz="731"/>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36169" y="252000"/>
            <a:ext cx="248373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266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3120000" y="612000"/>
            <a:ext cx="585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1100">
                <a:latin typeface="+mj-lt"/>
                <a:ea typeface="Verdana" pitchFamily="34" charset="0"/>
                <a:cs typeface="Verdana" pitchFamily="34" charset="0"/>
              </a:defRPr>
            </a:lvl1pPr>
          </a:lstStyle>
          <a:p>
            <a:endParaRPr lang="ru-RU"/>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19B0651-EE4F-4900-A07F-96A6BFA9D0F0}" type="slidenum">
              <a:rPr lang="ru-RU" smtClean="0"/>
              <a:t>‹#›</a:t>
            </a:fld>
            <a:endParaRPr lang="ru-RU"/>
          </a:p>
        </p:txBody>
      </p:sp>
      <p:sp>
        <p:nvSpPr>
          <p:cNvPr id="8" name="Прямоугольник 7"/>
          <p:cNvSpPr/>
          <p:nvPr/>
        </p:nvSpPr>
        <p:spPr>
          <a:xfrm>
            <a:off x="292365" y="269875"/>
            <a:ext cx="234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sz="1800"/>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418000" y="6191255"/>
            <a:ext cx="1802342" cy="396875"/>
          </a:xfrm>
          <a:prstGeom prst="rect">
            <a:avLst/>
          </a:prstGeom>
          <a:noFill/>
          <a:ln w="9525">
            <a:noFill/>
            <a:miter lim="800000"/>
            <a:headEnd/>
            <a:tailEnd/>
          </a:ln>
        </p:spPr>
      </p:pic>
    </p:spTree>
    <p:extLst>
      <p:ext uri="{BB962C8B-B14F-4D97-AF65-F5344CB8AC3E}">
        <p14:creationId xmlns:p14="http://schemas.microsoft.com/office/powerpoint/2010/main" val="11482927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 Титульный слайд_">
    <p:spTree>
      <p:nvGrpSpPr>
        <p:cNvPr id="1" name=""/>
        <p:cNvGrpSpPr/>
        <p:nvPr/>
      </p:nvGrpSpPr>
      <p:grpSpPr>
        <a:xfrm>
          <a:off x="0" y="0"/>
          <a:ext cx="0" cy="0"/>
          <a:chOff x="0" y="0"/>
          <a:chExt cx="0" cy="0"/>
        </a:xfrm>
      </p:grpSpPr>
      <p:pic>
        <p:nvPicPr>
          <p:cNvPr id="2050"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72999" y="252000"/>
            <a:ext cx="4413301" cy="6370261"/>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5148000" y="4291200"/>
            <a:ext cx="4407000" cy="648000"/>
          </a:xfrm>
          <a:prstGeom prst="rect">
            <a:avLst/>
          </a:prstGeom>
        </p:spPr>
        <p:txBody>
          <a:bodyPr anchor="t" anchorCtr="0">
            <a:noAutofit/>
          </a:bodyPr>
          <a:lstStyle>
            <a:lvl1pPr algn="l">
              <a:lnSpc>
                <a:spcPct val="100000"/>
              </a:lnSpc>
              <a:defRPr sz="825"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pic>
        <p:nvPicPr>
          <p:cNvPr id="7"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81485" y="252000"/>
            <a:ext cx="2495565" cy="582398"/>
          </a:xfrm>
          <a:prstGeom prst="rect">
            <a:avLst/>
          </a:prstGeom>
          <a:noFill/>
          <a:extLst>
            <a:ext uri="{909E8E84-426E-40DD-AFC4-6F175D3DCCD1}">
              <a14:hiddenFill xmlns:a14="http://schemas.microsoft.com/office/drawing/2010/main">
                <a:solidFill>
                  <a:srgbClr val="FFFFFF"/>
                </a:solidFill>
              </a14:hiddenFill>
            </a:ext>
          </a:extLst>
        </p:spPr>
      </p:pic>
      <p:sp>
        <p:nvSpPr>
          <p:cNvPr id="8" name="Текст 3"/>
          <p:cNvSpPr>
            <a:spLocks noGrp="1"/>
          </p:cNvSpPr>
          <p:nvPr>
            <p:ph type="body" sz="half" idx="2" hasCustomPrompt="1"/>
          </p:nvPr>
        </p:nvSpPr>
        <p:spPr>
          <a:xfrm>
            <a:off x="5148004" y="5083200"/>
            <a:ext cx="4524503" cy="1368000"/>
          </a:xfrm>
          <a:prstGeom prst="rect">
            <a:avLst/>
          </a:prstGeom>
        </p:spPr>
        <p:txBody>
          <a:bodyPr>
            <a:normAutofit/>
          </a:bodyPr>
          <a:lstStyle>
            <a:lvl1pPr marL="0" indent="0">
              <a:lnSpc>
                <a:spcPct val="100000"/>
              </a:lnSpc>
              <a:spcBef>
                <a:spcPts val="0"/>
              </a:spcBef>
              <a:buNone/>
              <a:defRPr lang="ru-RU" sz="1350" b="1" kern="1200" baseline="0" dirty="0" smtClean="0">
                <a:solidFill>
                  <a:schemeClr val="tx1"/>
                </a:solidFill>
                <a:latin typeface="+mj-lt"/>
                <a:ea typeface="Verdana" pitchFamily="34" charset="0"/>
                <a:cs typeface="Verdana" pitchFamily="34" charset="0"/>
              </a:defRPr>
            </a:lvl1pPr>
            <a:lvl2pPr marL="342900" indent="0">
              <a:buNone/>
              <a:defRPr sz="900"/>
            </a:lvl2pPr>
            <a:lvl3pPr marL="685800" indent="0">
              <a:buNone/>
              <a:defRPr sz="750"/>
            </a:lvl3pPr>
            <a:lvl4pPr marL="1028701"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lvl="0" indent="0" algn="l" defTabSz="685800" rtl="0" eaLnBrk="1" latinLnBrk="0" hangingPunct="1">
              <a:lnSpc>
                <a:spcPct val="100000"/>
              </a:lnSpc>
              <a:spcBef>
                <a:spcPts val="0"/>
              </a:spcBef>
              <a:buFont typeface="Arial" pitchFamily="34" charset="0"/>
              <a:buNone/>
            </a:pPr>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Tree>
    <p:extLst>
      <p:ext uri="{BB962C8B-B14F-4D97-AF65-F5344CB8AC3E}">
        <p14:creationId xmlns:p14="http://schemas.microsoft.com/office/powerpoint/2010/main" val="10211393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72481" y="252000"/>
            <a:ext cx="4403446"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5148000" y="4291200"/>
            <a:ext cx="4407000" cy="648000"/>
          </a:xfrm>
          <a:prstGeom prst="rect">
            <a:avLst/>
          </a:prstGeom>
        </p:spPr>
        <p:txBody>
          <a:bodyPr anchor="t" anchorCtr="0">
            <a:noAutofit/>
          </a:bodyPr>
          <a:lstStyle>
            <a:lvl1pPr algn="l">
              <a:lnSpc>
                <a:spcPct val="100000"/>
              </a:lnSpc>
              <a:defRPr sz="825"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5148004" y="5083200"/>
            <a:ext cx="4524503" cy="1368000"/>
          </a:xfrm>
          <a:prstGeom prst="rect">
            <a:avLst/>
          </a:prstGeom>
        </p:spPr>
        <p:txBody>
          <a:bodyPr>
            <a:normAutofit/>
          </a:bodyPr>
          <a:lstStyle>
            <a:lvl1pPr marL="0" indent="0">
              <a:lnSpc>
                <a:spcPct val="100000"/>
              </a:lnSpc>
              <a:spcBef>
                <a:spcPts val="0"/>
              </a:spcBef>
              <a:buNone/>
              <a:defRPr lang="ru-RU" sz="1350" b="1" kern="1200" baseline="0" dirty="0" smtClean="0">
                <a:solidFill>
                  <a:schemeClr val="tx1"/>
                </a:solidFill>
                <a:latin typeface="+mj-lt"/>
                <a:ea typeface="Verdana" pitchFamily="34" charset="0"/>
                <a:cs typeface="Verdana" pitchFamily="34" charset="0"/>
              </a:defRPr>
            </a:lvl1pPr>
            <a:lvl2pPr marL="342900" indent="0">
              <a:buNone/>
              <a:defRPr sz="900"/>
            </a:lvl2pPr>
            <a:lvl3pPr marL="685800" indent="0">
              <a:buNone/>
              <a:defRPr sz="750"/>
            </a:lvl3pPr>
            <a:lvl4pPr marL="1028701"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lvl="0" indent="0" algn="l" defTabSz="685800" rtl="0" eaLnBrk="1" latinLnBrk="0" hangingPunct="1">
              <a:lnSpc>
                <a:spcPct val="100000"/>
              </a:lnSpc>
              <a:spcBef>
                <a:spcPts val="0"/>
              </a:spcBef>
              <a:buFont typeface="Arial" pitchFamily="34" charset="0"/>
              <a:buNone/>
            </a:pPr>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81485" y="252000"/>
            <a:ext cx="2495565"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86761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 Начало раздела">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825">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4" y="269875"/>
            <a:ext cx="234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418003" y="6191266"/>
            <a:ext cx="1706322"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2846766" y="2639129"/>
            <a:ext cx="6084026" cy="792088"/>
          </a:xfrm>
          <a:prstGeom prst="rect">
            <a:avLst/>
          </a:prstGeom>
        </p:spPr>
        <p:txBody>
          <a:bodyPr anchor="t" anchorCtr="0">
            <a:noAutofit/>
          </a:bodyPr>
          <a:lstStyle>
            <a:lvl1pPr algn="l">
              <a:lnSpc>
                <a:spcPct val="90000"/>
              </a:lnSpc>
              <a:defRPr sz="1662"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9498527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825">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4" y="269875"/>
            <a:ext cx="234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2418003" y="6191252"/>
            <a:ext cx="1706400" cy="402211"/>
          </a:xfrm>
          <a:prstGeom prst="rect">
            <a:avLst/>
          </a:prstGeom>
          <a:noFill/>
          <a:ln w="9525">
            <a:noFill/>
            <a:miter lim="800000"/>
            <a:headEnd/>
            <a:tailEnd/>
          </a:ln>
        </p:spPr>
      </p:pic>
      <p:sp>
        <p:nvSpPr>
          <p:cNvPr id="10" name="Заголовок 1"/>
          <p:cNvSpPr>
            <a:spLocks noGrp="1"/>
          </p:cNvSpPr>
          <p:nvPr>
            <p:ph type="title" hasCustomPrompt="1"/>
          </p:nvPr>
        </p:nvSpPr>
        <p:spPr>
          <a:xfrm>
            <a:off x="2846766" y="2639129"/>
            <a:ext cx="6084026" cy="792088"/>
          </a:xfrm>
          <a:prstGeom prst="rect">
            <a:avLst/>
          </a:prstGeom>
        </p:spPr>
        <p:txBody>
          <a:bodyPr anchor="t" anchorCtr="0">
            <a:noAutofit/>
          </a:bodyPr>
          <a:lstStyle>
            <a:lvl1pPr algn="l">
              <a:lnSpc>
                <a:spcPct val="90000"/>
              </a:lnSpc>
              <a:defRPr sz="1662"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130796693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 Слайд с текстом">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724" y="1604"/>
          <a:ext cx="1719" cy="1587"/>
        </p:xfrm>
        <a:graphic>
          <a:graphicData uri="http://schemas.openxmlformats.org/presentationml/2006/ole">
            <mc:AlternateContent xmlns:mc="http://schemas.openxmlformats.org/markup-compatibility/2006">
              <mc:Choice xmlns:v="urn:schemas-microsoft-com:vml" Requires="v">
                <p:oleObj spid="_x0000_s148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4" y="1604"/>
                        <a:ext cx="1719" cy="1587"/>
                      </a:xfrm>
                      <a:prstGeom prst="rect">
                        <a:avLst/>
                      </a:prstGeom>
                    </p:spPr>
                  </p:pic>
                </p:oleObj>
              </mc:Fallback>
            </mc:AlternateContent>
          </a:graphicData>
        </a:graphic>
      </p:graphicFrame>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825">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5" y="269875"/>
            <a:ext cx="701675"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a:solidFill>
                <a:prstClr val="white"/>
              </a:solidFill>
            </a:endParaRPr>
          </a:p>
        </p:txBody>
      </p:sp>
      <p:sp>
        <p:nvSpPr>
          <p:cNvPr id="10" name="Заголовок 1"/>
          <p:cNvSpPr>
            <a:spLocks noGrp="1"/>
          </p:cNvSpPr>
          <p:nvPr>
            <p:ph type="title" hasCustomPrompt="1"/>
          </p:nvPr>
        </p:nvSpPr>
        <p:spPr>
          <a:xfrm>
            <a:off x="994048" y="269875"/>
            <a:ext cx="8717489" cy="620752"/>
          </a:xfrm>
          <a:prstGeom prst="rect">
            <a:avLst/>
          </a:prstGeom>
        </p:spPr>
        <p:txBody>
          <a:bodyPr anchor="t" anchorCtr="0">
            <a:noAutofit/>
          </a:bodyPr>
          <a:lstStyle>
            <a:lvl1pPr algn="l">
              <a:defRPr sz="1477"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11" name="Текст 3"/>
          <p:cNvSpPr>
            <a:spLocks noGrp="1"/>
          </p:cNvSpPr>
          <p:nvPr>
            <p:ph type="body" sz="half" idx="2" hasCustomPrompt="1"/>
          </p:nvPr>
        </p:nvSpPr>
        <p:spPr>
          <a:xfrm>
            <a:off x="994047" y="1197152"/>
            <a:ext cx="8717489" cy="3600000"/>
          </a:xfrm>
          <a:prstGeom prst="rect">
            <a:avLst/>
          </a:prstGeom>
        </p:spPr>
        <p:txBody>
          <a:bodyPr>
            <a:normAutofit/>
          </a:bodyPr>
          <a:lstStyle>
            <a:lvl1pPr marL="0" indent="0">
              <a:lnSpc>
                <a:spcPct val="140000"/>
              </a:lnSpc>
              <a:spcBef>
                <a:spcPts val="0"/>
              </a:spcBef>
              <a:buNone/>
              <a:defRPr sz="1292" baseline="0">
                <a:latin typeface="+mj-lt"/>
                <a:ea typeface="Verdana" pitchFamily="34" charset="0"/>
                <a:cs typeface="Verdana" pitchFamily="34" charset="0"/>
              </a:defRPr>
            </a:lvl1pPr>
            <a:lvl2pPr marL="342900" indent="0">
              <a:buNone/>
              <a:defRPr sz="900"/>
            </a:lvl2pPr>
            <a:lvl3pPr marL="685800" indent="0">
              <a:buNone/>
              <a:defRPr sz="750"/>
            </a:lvl3pPr>
            <a:lvl4pPr marL="1028701"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pic>
        <p:nvPicPr>
          <p:cNvPr id="14" name="Picture 4" descr="H:\Moscow Exchange (ex-Micex-RTS) brandbook\MSCW_XCHNG_Master_Logo_Folder\PNG\RUSSIAN\MSCW_XCHNG_RGB_RUS.png"/>
          <p:cNvPicPr>
            <a:picLocks noChangeAspect="1" noChangeArrowheads="1"/>
          </p:cNvPicPr>
          <p:nvPr userDrawn="1"/>
        </p:nvPicPr>
        <p:blipFill>
          <a:blip r:embed="rId6" cstate="print"/>
          <a:srcRect/>
          <a:stretch>
            <a:fillRect/>
          </a:stretch>
        </p:blipFill>
        <p:spPr bwMode="auto">
          <a:xfrm>
            <a:off x="775886" y="6192025"/>
            <a:ext cx="1706322" cy="396875"/>
          </a:xfrm>
          <a:prstGeom prst="rect">
            <a:avLst/>
          </a:prstGeom>
          <a:noFill/>
          <a:ln w="9525">
            <a:noFill/>
            <a:miter lim="800000"/>
            <a:headEnd/>
            <a:tailEnd/>
          </a:ln>
        </p:spPr>
      </p:pic>
    </p:spTree>
    <p:extLst>
      <p:ext uri="{BB962C8B-B14F-4D97-AF65-F5344CB8AC3E}">
        <p14:creationId xmlns:p14="http://schemas.microsoft.com/office/powerpoint/2010/main" val="234827972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94048" y="269875"/>
            <a:ext cx="8717489" cy="620752"/>
          </a:xfrm>
          <a:prstGeom prst="rect">
            <a:avLst/>
          </a:prstGeom>
        </p:spPr>
        <p:txBody>
          <a:bodyPr anchor="t" anchorCtr="0">
            <a:noAutofit/>
          </a:bodyPr>
          <a:lstStyle>
            <a:lvl1pPr algn="l">
              <a:defRPr sz="1477"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994047" y="1197152"/>
            <a:ext cx="8717489" cy="3600000"/>
          </a:xfrm>
          <a:prstGeom prst="rect">
            <a:avLst/>
          </a:prstGeom>
        </p:spPr>
        <p:txBody>
          <a:bodyPr>
            <a:normAutofit/>
          </a:bodyPr>
          <a:lstStyle>
            <a:lvl1pPr marL="0" indent="0">
              <a:lnSpc>
                <a:spcPct val="140000"/>
              </a:lnSpc>
              <a:spcBef>
                <a:spcPts val="0"/>
              </a:spcBef>
              <a:buNone/>
              <a:defRPr sz="1292" baseline="0">
                <a:latin typeface="+mj-lt"/>
                <a:ea typeface="Verdana" pitchFamily="34" charset="0"/>
                <a:cs typeface="Verdana" pitchFamily="34" charset="0"/>
              </a:defRPr>
            </a:lvl1pPr>
            <a:lvl2pPr marL="342900" indent="0">
              <a:buNone/>
              <a:defRPr sz="900"/>
            </a:lvl2pPr>
            <a:lvl3pPr marL="685800" indent="0">
              <a:buNone/>
              <a:defRPr sz="750"/>
            </a:lvl3pPr>
            <a:lvl4pPr marL="1028701"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92365" y="269875"/>
            <a:ext cx="701675"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350">
              <a:solidFill>
                <a:prstClr val="white"/>
              </a:solidFill>
            </a:endParaRPr>
          </a:p>
        </p:txBody>
      </p:sp>
      <p:sp>
        <p:nvSpPr>
          <p:cNvPr id="11"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825">
                <a:latin typeface="+mj-lt"/>
                <a:ea typeface="Verdana" pitchFamily="34" charset="0"/>
                <a:cs typeface="Verdana" pitchFamily="34" charset="0"/>
              </a:defRPr>
            </a:lvl1pPr>
          </a:lstStyle>
          <a:p>
            <a:endParaRPr lang="ru-RU">
              <a:solidFill>
                <a:srgbClr val="000000">
                  <a:tint val="75000"/>
                </a:srgbClr>
              </a:solidFill>
            </a:endParaRPr>
          </a:p>
        </p:txBody>
      </p:sp>
      <p:pic>
        <p:nvPicPr>
          <p:cNvPr id="12"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75886" y="6188866"/>
            <a:ext cx="1706400" cy="402211"/>
          </a:xfrm>
          <a:prstGeom prst="rect">
            <a:avLst/>
          </a:prstGeom>
          <a:noFill/>
          <a:ln w="9525">
            <a:noFill/>
            <a:miter lim="800000"/>
            <a:headEnd/>
            <a:tailEnd/>
          </a:ln>
        </p:spPr>
      </p:pic>
    </p:spTree>
    <p:extLst>
      <p:ext uri="{BB962C8B-B14F-4D97-AF65-F5344CB8AC3E}">
        <p14:creationId xmlns:p14="http://schemas.microsoft.com/office/powerpoint/2010/main" val="42811890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06_ Слайд с буллетированным текстом и изображением">
    <p:spTree>
      <p:nvGrpSpPr>
        <p:cNvPr id="1" name=""/>
        <p:cNvGrpSpPr/>
        <p:nvPr/>
      </p:nvGrpSpPr>
      <p:grpSpPr>
        <a:xfrm>
          <a:off x="0" y="0"/>
          <a:ext cx="0" cy="0"/>
          <a:chOff x="0" y="0"/>
          <a:chExt cx="0" cy="0"/>
        </a:xfrm>
      </p:grpSpPr>
      <p:graphicFrame>
        <p:nvGraphicFramePr>
          <p:cNvPr id="4" name="Object 9"/>
          <p:cNvGraphicFramePr>
            <a:graphicFrameLocks noChangeAspect="1"/>
          </p:cNvGraphicFramePr>
          <p:nvPr>
            <p:custDataLst>
              <p:tags r:id="rId2"/>
            </p:custDataLst>
          </p:nvPr>
        </p:nvGraphicFramePr>
        <p:xfrm>
          <a:off x="1724" y="1612"/>
          <a:ext cx="1719" cy="1587"/>
        </p:xfrm>
        <a:graphic>
          <a:graphicData uri="http://schemas.openxmlformats.org/presentationml/2006/ole">
            <mc:AlternateContent xmlns:mc="http://schemas.openxmlformats.org/markup-compatibility/2006">
              <mc:Choice xmlns:v="urn:schemas-microsoft-com:vml" Requires="v">
                <p:oleObj spid="_x0000_s1583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4" y="1612"/>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Прямоугольник 4"/>
          <p:cNvSpPr/>
          <p:nvPr/>
        </p:nvSpPr>
        <p:spPr>
          <a:xfrm>
            <a:off x="292365" y="269875"/>
            <a:ext cx="701675"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14">
              <a:solidFill>
                <a:prstClr val="white"/>
              </a:solidFill>
              <a:sym typeface="Tahoma"/>
            </a:endParaRPr>
          </a:p>
        </p:txBody>
      </p:sp>
      <p:sp>
        <p:nvSpPr>
          <p:cNvPr id="10" name="Вертикальный текст 2"/>
          <p:cNvSpPr>
            <a:spLocks noGrp="1"/>
          </p:cNvSpPr>
          <p:nvPr>
            <p:ph type="body" orient="vert" idx="1"/>
          </p:nvPr>
        </p:nvSpPr>
        <p:spPr>
          <a:xfrm>
            <a:off x="1248000" y="1196752"/>
            <a:ext cx="8034000" cy="4538048"/>
          </a:xfrm>
          <a:prstGeom prst="rect">
            <a:avLst/>
          </a:prstGeom>
        </p:spPr>
        <p:txBody>
          <a:bodyPr>
            <a:noAutofit/>
          </a:bodyPr>
          <a:lstStyle>
            <a:lvl1pPr marL="98227" indent="-98227" defTabSz="1111747">
              <a:spcBef>
                <a:spcPts val="1014"/>
              </a:spcBef>
              <a:buFont typeface="Wingdings" pitchFamily="2" charset="2"/>
              <a:buChar char="§"/>
              <a:defRPr sz="1292" baseline="0">
                <a:latin typeface="+mn-lt"/>
                <a:ea typeface="Verdana" pitchFamily="34" charset="0"/>
                <a:cs typeface="Verdana" pitchFamily="34" charset="0"/>
              </a:defRPr>
            </a:lvl1pPr>
            <a:lvl2pPr defTabSz="1111747">
              <a:defRPr sz="1292">
                <a:latin typeface="+mn-lt"/>
                <a:ea typeface="Verdana" pitchFamily="34" charset="0"/>
                <a:cs typeface="Verdana" pitchFamily="34" charset="0"/>
              </a:defRPr>
            </a:lvl2pPr>
            <a:lvl3pPr>
              <a:defRPr sz="1662">
                <a:latin typeface="Verdana" pitchFamily="34" charset="0"/>
                <a:ea typeface="Verdana" pitchFamily="34" charset="0"/>
                <a:cs typeface="Verdana" pitchFamily="34" charset="0"/>
              </a:defRPr>
            </a:lvl3pPr>
            <a:lvl4pPr>
              <a:defRPr sz="1662">
                <a:latin typeface="Verdana" pitchFamily="34" charset="0"/>
                <a:ea typeface="Verdana" pitchFamily="34" charset="0"/>
                <a:cs typeface="Verdana" pitchFamily="34" charset="0"/>
              </a:defRPr>
            </a:lvl4pPr>
            <a:lvl5pPr>
              <a:defRPr sz="1662">
                <a:latin typeface="Verdana" pitchFamily="34" charset="0"/>
                <a:ea typeface="Verdana" pitchFamily="34" charset="0"/>
                <a:cs typeface="Verdana"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13" name="Заголовок 1"/>
          <p:cNvSpPr>
            <a:spLocks noGrp="1"/>
          </p:cNvSpPr>
          <p:nvPr>
            <p:ph type="title"/>
          </p:nvPr>
        </p:nvSpPr>
        <p:spPr>
          <a:xfrm>
            <a:off x="1248000" y="288000"/>
            <a:ext cx="8034000" cy="756000"/>
          </a:xfrm>
          <a:prstGeom prst="rect">
            <a:avLst/>
          </a:prstGeom>
        </p:spPr>
        <p:txBody>
          <a:bodyPr anchor="t">
            <a:noAutofit/>
          </a:bodyPr>
          <a:lstStyle>
            <a:lvl1pPr algn="l">
              <a:defRPr sz="1477" b="1" baseline="0">
                <a:latin typeface="+mj-lt"/>
                <a:ea typeface="Verdana" pitchFamily="34" charset="0"/>
                <a:cs typeface="Verdana" pitchFamily="34" charset="0"/>
              </a:defRPr>
            </a:lvl1pPr>
          </a:lstStyle>
          <a:p>
            <a:r>
              <a:rPr lang="ru-RU" dirty="0" smtClean="0"/>
              <a:t>Образец заголовка</a:t>
            </a:r>
            <a:endParaRPr lang="ru-RU" dirty="0"/>
          </a:p>
        </p:txBody>
      </p:sp>
      <p:sp>
        <p:nvSpPr>
          <p:cNvPr id="7" name="Номер слайда 3"/>
          <p:cNvSpPr>
            <a:spLocks noGrp="1"/>
          </p:cNvSpPr>
          <p:nvPr>
            <p:ph type="sldNum"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cs typeface="Tahoma" pitchFamily="34" charset="0"/>
              </a:defRPr>
            </a:lvl1pPr>
          </a:lstStyle>
          <a:p>
            <a:fld id="{91115DCC-13C9-4CF0-854C-B471B31C2C1A}" type="slidenum">
              <a:rPr lang="ru-RU" altLang="ru-RU">
                <a:solidFill>
                  <a:srgbClr val="000000">
                    <a:tint val="75000"/>
                  </a:srgbClr>
                </a:solidFill>
              </a:rPr>
              <a:pPr/>
              <a:t>‹#›</a:t>
            </a:fld>
            <a:endParaRPr lang="ru-RU" altLang="ru-RU">
              <a:solidFill>
                <a:srgbClr val="000000">
                  <a:tint val="75000"/>
                </a:srgbClr>
              </a:solidFill>
            </a:endParaRPr>
          </a:p>
        </p:txBody>
      </p:sp>
      <p:pic>
        <p:nvPicPr>
          <p:cNvPr id="11" name="Picture 4" descr="H:\Moscow Exchange (ex-Micex-RTS) brandbook\MSCW_XCHNG_Master_Logo_Folder\PNG\RUSSIAN\MSCW_XCHNG_RGB_RUS.png"/>
          <p:cNvPicPr>
            <a:picLocks noChangeAspect="1" noChangeArrowheads="1"/>
          </p:cNvPicPr>
          <p:nvPr userDrawn="1"/>
        </p:nvPicPr>
        <p:blipFill>
          <a:blip r:embed="rId6" cstate="print"/>
          <a:srcRect/>
          <a:stretch>
            <a:fillRect/>
          </a:stretch>
        </p:blipFill>
        <p:spPr bwMode="auto">
          <a:xfrm>
            <a:off x="775886" y="6192025"/>
            <a:ext cx="1706322" cy="396875"/>
          </a:xfrm>
          <a:prstGeom prst="rect">
            <a:avLst/>
          </a:prstGeom>
          <a:noFill/>
          <a:ln w="9525">
            <a:noFill/>
            <a:miter lim="800000"/>
            <a:headEnd/>
            <a:tailEnd/>
          </a:ln>
        </p:spPr>
      </p:pic>
    </p:spTree>
    <p:extLst>
      <p:ext uri="{BB962C8B-B14F-4D97-AF65-F5344CB8AC3E}">
        <p14:creationId xmlns:p14="http://schemas.microsoft.com/office/powerpoint/2010/main" val="191474085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 Титульный слайд_">
    <p:spTree>
      <p:nvGrpSpPr>
        <p:cNvPr id="1" name=""/>
        <p:cNvGrpSpPr/>
        <p:nvPr/>
      </p:nvGrpSpPr>
      <p:grpSpPr>
        <a:xfrm>
          <a:off x="0" y="0"/>
          <a:ext cx="0" cy="0"/>
          <a:chOff x="0" y="0"/>
          <a:chExt cx="0" cy="0"/>
        </a:xfrm>
      </p:grpSpPr>
      <p:pic>
        <p:nvPicPr>
          <p:cNvPr id="1027" name="Picture 3" descr="\\office.micex.com\Public\Files\Департамент_по_коммуникациям\Отдел_управления_брендом\Фирменный_стиль\Шаблон_презентаций\Шаблоны с выбором фото\высотка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72481" y="252000"/>
            <a:ext cx="4403446"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5148000" y="4291200"/>
            <a:ext cx="4407000" cy="648000"/>
          </a:xfrm>
          <a:prstGeom prst="rect">
            <a:avLst/>
          </a:prstGeom>
        </p:spPr>
        <p:txBody>
          <a:bodyPr anchor="t" anchorCtr="0">
            <a:noAutofit/>
          </a:bodyPr>
          <a:lstStyle>
            <a:lvl1pPr algn="l">
              <a:lnSpc>
                <a:spcPct val="100000"/>
              </a:lnSpc>
              <a:defRPr sz="894"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5148004" y="5083200"/>
            <a:ext cx="4524503" cy="1368000"/>
          </a:xfrm>
          <a:prstGeom prst="rect">
            <a:avLst/>
          </a:prstGeom>
        </p:spPr>
        <p:txBody>
          <a:bodyPr>
            <a:normAutofit/>
          </a:bodyPr>
          <a:lstStyle>
            <a:lvl1pPr marL="0" indent="0">
              <a:lnSpc>
                <a:spcPct val="100000"/>
              </a:lnSpc>
              <a:spcBef>
                <a:spcPts val="0"/>
              </a:spcBef>
              <a:buNone/>
              <a:defRPr lang="ru-RU" sz="1463" b="1" kern="1200" baseline="0" dirty="0" smtClean="0">
                <a:solidFill>
                  <a:schemeClr val="tx1"/>
                </a:solidFill>
                <a:latin typeface="+mj-lt"/>
                <a:ea typeface="Verdana" pitchFamily="34" charset="0"/>
                <a:cs typeface="Verdana" pitchFamily="34" charset="0"/>
              </a:defRPr>
            </a:lvl1pPr>
            <a:lvl2pPr marL="371466" indent="0">
              <a:buNone/>
              <a:defRPr sz="975"/>
            </a:lvl2pPr>
            <a:lvl3pPr marL="742931" indent="0">
              <a:buNone/>
              <a:defRPr sz="813"/>
            </a:lvl3pPr>
            <a:lvl4pPr marL="1114398" indent="0">
              <a:buNone/>
              <a:defRPr sz="731"/>
            </a:lvl4pPr>
            <a:lvl5pPr marL="1485863" indent="0">
              <a:buNone/>
              <a:defRPr sz="731"/>
            </a:lvl5pPr>
            <a:lvl6pPr marL="1857329" indent="0">
              <a:buNone/>
              <a:defRPr sz="731"/>
            </a:lvl6pPr>
            <a:lvl7pPr marL="2228794" indent="0">
              <a:buNone/>
              <a:defRPr sz="731"/>
            </a:lvl7pPr>
            <a:lvl8pPr marL="2600260" indent="0">
              <a:buNone/>
              <a:defRPr sz="731"/>
            </a:lvl8pPr>
            <a:lvl9pPr marL="2971726" indent="0">
              <a:buNone/>
              <a:defRPr sz="731"/>
            </a:lvl9pPr>
          </a:lstStyle>
          <a:p>
            <a:pPr marL="0" lvl="0" indent="0" algn="l" defTabSz="742931" rtl="0" eaLnBrk="1" latinLnBrk="0" hangingPunct="1">
              <a:lnSpc>
                <a:spcPct val="100000"/>
              </a:lnSpc>
              <a:spcBef>
                <a:spcPts val="0"/>
              </a:spcBef>
              <a:buFont typeface="Arial" pitchFamily="34" charset="0"/>
              <a:buNone/>
            </a:pPr>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81486" y="252000"/>
            <a:ext cx="2495564"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18177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7_ Слайд с буллетированным текстом и изображением">
    <p:spTree>
      <p:nvGrpSpPr>
        <p:cNvPr id="1" name=""/>
        <p:cNvGrpSpPr/>
        <p:nvPr/>
      </p:nvGrpSpPr>
      <p:grpSpPr>
        <a:xfrm>
          <a:off x="0" y="0"/>
          <a:ext cx="0" cy="0"/>
          <a:chOff x="0" y="0"/>
          <a:chExt cx="0" cy="0"/>
        </a:xfrm>
      </p:grpSpPr>
      <p:graphicFrame>
        <p:nvGraphicFramePr>
          <p:cNvPr id="4" name="Object 9"/>
          <p:cNvGraphicFramePr>
            <a:graphicFrameLocks noChangeAspect="1"/>
          </p:cNvGraphicFramePr>
          <p:nvPr>
            <p:custDataLst>
              <p:tags r:id="rId2"/>
            </p:custDataLst>
          </p:nvPr>
        </p:nvGraphicFramePr>
        <p:xfrm>
          <a:off x="1724" y="1612"/>
          <a:ext cx="1719" cy="1587"/>
        </p:xfrm>
        <a:graphic>
          <a:graphicData uri="http://schemas.openxmlformats.org/presentationml/2006/ole">
            <mc:AlternateContent xmlns:mc="http://schemas.openxmlformats.org/markup-compatibility/2006">
              <mc:Choice xmlns:v="urn:schemas-microsoft-com:vml" Requires="v">
                <p:oleObj spid="_x0000_s1685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4" y="1612"/>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Прямоугольник 4"/>
          <p:cNvSpPr/>
          <p:nvPr/>
        </p:nvSpPr>
        <p:spPr>
          <a:xfrm>
            <a:off x="292365" y="269875"/>
            <a:ext cx="701675"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14">
              <a:solidFill>
                <a:prstClr val="white"/>
              </a:solidFill>
              <a:sym typeface="Tahoma"/>
            </a:endParaRPr>
          </a:p>
        </p:txBody>
      </p:sp>
      <p:sp>
        <p:nvSpPr>
          <p:cNvPr id="10" name="Вертикальный текст 2"/>
          <p:cNvSpPr>
            <a:spLocks noGrp="1"/>
          </p:cNvSpPr>
          <p:nvPr>
            <p:ph type="body" orient="vert" idx="1"/>
          </p:nvPr>
        </p:nvSpPr>
        <p:spPr>
          <a:xfrm>
            <a:off x="1248000" y="1196752"/>
            <a:ext cx="8034000" cy="4538048"/>
          </a:xfrm>
          <a:prstGeom prst="rect">
            <a:avLst/>
          </a:prstGeom>
        </p:spPr>
        <p:txBody>
          <a:bodyPr>
            <a:noAutofit/>
          </a:bodyPr>
          <a:lstStyle>
            <a:lvl1pPr marL="98227" indent="-98227" defTabSz="1111747">
              <a:spcBef>
                <a:spcPts val="1014"/>
              </a:spcBef>
              <a:buFont typeface="Wingdings" pitchFamily="2" charset="2"/>
              <a:buChar char="§"/>
              <a:defRPr sz="1292" baseline="0">
                <a:latin typeface="+mn-lt"/>
                <a:ea typeface="Verdana" pitchFamily="34" charset="0"/>
                <a:cs typeface="Verdana" pitchFamily="34" charset="0"/>
              </a:defRPr>
            </a:lvl1pPr>
            <a:lvl2pPr defTabSz="1111747">
              <a:defRPr sz="1292">
                <a:latin typeface="+mn-lt"/>
                <a:ea typeface="Verdana" pitchFamily="34" charset="0"/>
                <a:cs typeface="Verdana" pitchFamily="34" charset="0"/>
              </a:defRPr>
            </a:lvl2pPr>
            <a:lvl3pPr>
              <a:defRPr sz="1292">
                <a:latin typeface="Verdana" pitchFamily="34" charset="0"/>
                <a:ea typeface="Verdana" pitchFamily="34" charset="0"/>
                <a:cs typeface="Verdana" pitchFamily="34" charset="0"/>
              </a:defRPr>
            </a:lvl3pPr>
            <a:lvl4pPr>
              <a:defRPr sz="1292">
                <a:latin typeface="Verdana" pitchFamily="34" charset="0"/>
                <a:ea typeface="Verdana" pitchFamily="34" charset="0"/>
                <a:cs typeface="Verdana" pitchFamily="34" charset="0"/>
              </a:defRPr>
            </a:lvl4pPr>
            <a:lvl5pPr>
              <a:defRPr sz="1292">
                <a:latin typeface="Verdana" pitchFamily="34" charset="0"/>
                <a:ea typeface="Verdana" pitchFamily="34" charset="0"/>
                <a:cs typeface="Verdana"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13" name="Заголовок 1"/>
          <p:cNvSpPr>
            <a:spLocks noGrp="1"/>
          </p:cNvSpPr>
          <p:nvPr>
            <p:ph type="title"/>
          </p:nvPr>
        </p:nvSpPr>
        <p:spPr>
          <a:xfrm>
            <a:off x="1248000" y="288000"/>
            <a:ext cx="8034000" cy="756000"/>
          </a:xfrm>
          <a:prstGeom prst="rect">
            <a:avLst/>
          </a:prstGeom>
        </p:spPr>
        <p:txBody>
          <a:bodyPr anchor="t">
            <a:noAutofit/>
          </a:bodyPr>
          <a:lstStyle>
            <a:lvl1pPr algn="l">
              <a:defRPr sz="1477" b="1"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Номер слайда 3"/>
          <p:cNvSpPr>
            <a:spLocks noGrp="1"/>
          </p:cNvSpPr>
          <p:nvPr>
            <p:ph type="sldNum"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cs typeface="Tahoma" pitchFamily="34" charset="0"/>
              </a:defRPr>
            </a:lvl1pPr>
          </a:lstStyle>
          <a:p>
            <a:fld id="{91115DCC-13C9-4CF0-854C-B471B31C2C1A}" type="slidenum">
              <a:rPr lang="ru-RU" altLang="ru-RU">
                <a:solidFill>
                  <a:srgbClr val="000000">
                    <a:tint val="75000"/>
                  </a:srgbClr>
                </a:solidFill>
              </a:rPr>
              <a:pPr/>
              <a:t>‹#›</a:t>
            </a:fld>
            <a:endParaRPr lang="ru-RU" altLang="ru-RU">
              <a:solidFill>
                <a:srgbClr val="000000">
                  <a:tint val="75000"/>
                </a:srgbClr>
              </a:solidFill>
            </a:endParaRPr>
          </a:p>
        </p:txBody>
      </p:sp>
      <p:pic>
        <p:nvPicPr>
          <p:cNvPr id="11"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75886" y="6188866"/>
            <a:ext cx="1706400" cy="402211"/>
          </a:xfrm>
          <a:prstGeom prst="rect">
            <a:avLst/>
          </a:prstGeom>
          <a:noFill/>
          <a:ln w="9525">
            <a:noFill/>
            <a:miter lim="800000"/>
            <a:headEnd/>
            <a:tailEnd/>
          </a:ln>
        </p:spPr>
      </p:pic>
    </p:spTree>
    <p:extLst>
      <p:ext uri="{BB962C8B-B14F-4D97-AF65-F5344CB8AC3E}">
        <p14:creationId xmlns:p14="http://schemas.microsoft.com/office/powerpoint/2010/main" val="78136920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 Слайд с текстом">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userDrawn="1"/>
        </p:nvPicPr>
        <p:blipFill>
          <a:blip r:embed="rId2" cstate="print"/>
          <a:srcRect/>
          <a:stretch>
            <a:fillRect/>
          </a:stretch>
        </p:blipFill>
        <p:spPr bwMode="auto">
          <a:xfrm>
            <a:off x="116464" y="6191266"/>
            <a:ext cx="1706322" cy="396875"/>
          </a:xfrm>
          <a:prstGeom prst="rect">
            <a:avLst/>
          </a:prstGeom>
          <a:noFill/>
          <a:ln w="9525">
            <a:noFill/>
            <a:miter lim="800000"/>
            <a:headEnd/>
            <a:tailEnd/>
          </a:ln>
        </p:spPr>
      </p:pic>
      <p:sp>
        <p:nvSpPr>
          <p:cNvPr id="2" name="Заголовок 1"/>
          <p:cNvSpPr>
            <a:spLocks noGrp="1"/>
          </p:cNvSpPr>
          <p:nvPr>
            <p:ph type="title" hasCustomPrompt="1"/>
          </p:nvPr>
        </p:nvSpPr>
        <p:spPr>
          <a:xfrm>
            <a:off x="116463" y="289576"/>
            <a:ext cx="9595066" cy="403120"/>
          </a:xfrm>
          <a:prstGeom prst="rect">
            <a:avLst/>
          </a:prstGeom>
        </p:spPr>
        <p:txBody>
          <a:bodyPr anchor="t" anchorCtr="0">
            <a:noAutofit/>
          </a:bodyPr>
          <a:lstStyle>
            <a:lvl1pPr algn="l">
              <a:defRPr sz="1477"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825">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29511940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6463" y="289576"/>
            <a:ext cx="9595066" cy="403120"/>
          </a:xfrm>
          <a:prstGeom prst="rect">
            <a:avLst/>
          </a:prstGeom>
        </p:spPr>
        <p:txBody>
          <a:bodyPr anchor="t" anchorCtr="0">
            <a:noAutofit/>
          </a:bodyPr>
          <a:lstStyle>
            <a:lvl1pPr algn="l">
              <a:defRPr sz="1477"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825">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pic>
        <p:nvPicPr>
          <p:cNvPr id="8"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116464" y="6187891"/>
            <a:ext cx="1706400" cy="402211"/>
          </a:xfrm>
          <a:prstGeom prst="rect">
            <a:avLst/>
          </a:prstGeom>
          <a:noFill/>
          <a:ln w="9525">
            <a:noFill/>
            <a:miter lim="800000"/>
            <a:headEnd/>
            <a:tailEnd/>
          </a:ln>
        </p:spPr>
      </p:pic>
    </p:spTree>
    <p:extLst>
      <p:ext uri="{BB962C8B-B14F-4D97-AF65-F5344CB8AC3E}">
        <p14:creationId xmlns:p14="http://schemas.microsoft.com/office/powerpoint/2010/main" val="160026312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01_ Титульный слайд_">
    <p:spTree>
      <p:nvGrpSpPr>
        <p:cNvPr id="1" name=""/>
        <p:cNvGrpSpPr/>
        <p:nvPr/>
      </p:nvGrpSpPr>
      <p:grpSpPr>
        <a:xfrm>
          <a:off x="0" y="0"/>
          <a:ext cx="0" cy="0"/>
          <a:chOff x="0" y="0"/>
          <a:chExt cx="0" cy="0"/>
        </a:xfrm>
      </p:grpSpPr>
      <p:pic>
        <p:nvPicPr>
          <p:cNvPr id="2050" name="Picture 2" descr="\\office.micex.com\Public\Files\Департамент_по_коммуникациям\Отдел_управления_брендом\Фирменный_стиль\Шаблон_презентаций\Шаблоны с выбором фото\купол1.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273001" y="252000"/>
            <a:ext cx="4382569"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5148000" y="4291200"/>
            <a:ext cx="4407000" cy="648000"/>
          </a:xfrm>
          <a:prstGeom prst="rect">
            <a:avLst/>
          </a:prstGeom>
        </p:spPr>
        <p:txBody>
          <a:bodyPr anchor="t" anchorCtr="0">
            <a:noAutofit/>
          </a:bodyPr>
          <a:lstStyle>
            <a:lvl1pPr algn="l">
              <a:lnSpc>
                <a:spcPct val="100000"/>
              </a:lnSpc>
              <a:defRPr sz="1108"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5148004" y="5083200"/>
            <a:ext cx="4524503" cy="1368000"/>
          </a:xfrm>
          <a:prstGeom prst="rect">
            <a:avLst/>
          </a:prstGeom>
        </p:spPr>
        <p:txBody>
          <a:bodyPr>
            <a:normAutofit/>
          </a:bodyPr>
          <a:lstStyle>
            <a:lvl1pPr marL="0" indent="0">
              <a:lnSpc>
                <a:spcPct val="100000"/>
              </a:lnSpc>
              <a:spcBef>
                <a:spcPts val="0"/>
              </a:spcBef>
              <a:buNone/>
              <a:defRPr sz="2215" baseline="0">
                <a:latin typeface="+mj-lt"/>
                <a:ea typeface="Verdana" pitchFamily="34" charset="0"/>
                <a:cs typeface="Verdana" pitchFamily="34" charset="0"/>
              </a:defRPr>
            </a:lvl1pPr>
            <a:lvl2pPr marL="342900" indent="0">
              <a:buNone/>
              <a:defRPr sz="900"/>
            </a:lvl2pPr>
            <a:lvl3pPr marL="685800" indent="0">
              <a:buNone/>
              <a:defRPr sz="750"/>
            </a:lvl3pPr>
            <a:lvl4pPr marL="1028701"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36169" y="252000"/>
            <a:ext cx="248373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30200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8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248000" y="576000"/>
            <a:ext cx="8034000" cy="1123200"/>
          </a:xfrm>
          <a:prstGeom prst="rect">
            <a:avLst/>
          </a:prstGeom>
        </p:spPr>
        <p:txBody>
          <a:bodyPr anchor="t" anchorCtr="0">
            <a:noAutofit/>
          </a:bodyPr>
          <a:lstStyle>
            <a:lvl1pPr algn="l">
              <a:defRPr sz="24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1015">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6" y="269875"/>
            <a:ext cx="701675"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662">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80785" y="6191253"/>
            <a:ext cx="1802342"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953000" y="2160000"/>
            <a:ext cx="4446000" cy="2782800"/>
          </a:xfrm>
          <a:prstGeom prst="rect">
            <a:avLst/>
          </a:prstGeom>
        </p:spPr>
        <p:txBody>
          <a:bodyPr>
            <a:noAutofit/>
          </a:bodyPr>
          <a:lstStyle>
            <a:lvl1pPr marL="316531" marR="0" indent="-316531" algn="l" defTabSz="844083" rtl="0" eaLnBrk="1" fontAlgn="auto" latinLnBrk="0" hangingPunct="1">
              <a:lnSpc>
                <a:spcPct val="100000"/>
              </a:lnSpc>
              <a:spcBef>
                <a:spcPct val="20000"/>
              </a:spcBef>
              <a:spcAft>
                <a:spcPts val="0"/>
              </a:spcAft>
              <a:buClrTx/>
              <a:buSzTx/>
              <a:buFont typeface="Arial" pitchFamily="34" charset="0"/>
              <a:buNone/>
              <a:tabLst/>
              <a:defRPr sz="1662" baseline="0">
                <a:solidFill>
                  <a:schemeClr val="bg1">
                    <a:lumMod val="50000"/>
                  </a:schemeClr>
                </a:solidFill>
                <a:latin typeface="Courier New" pitchFamily="49" charset="0"/>
                <a:cs typeface="Courier New" pitchFamily="49" charset="0"/>
              </a:defRPr>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marL="316531" marR="0" lvl="0" indent="-316531" algn="l" defTabSz="844083"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953000" y="5112000"/>
            <a:ext cx="4524000" cy="576064"/>
          </a:xfrm>
          <a:prstGeom prst="rect">
            <a:avLst/>
          </a:prstGeom>
        </p:spPr>
        <p:txBody>
          <a:bodyPr lIns="0" tIns="0" rIns="0" bIns="0">
            <a:noAutofit/>
          </a:bodyPr>
          <a:lstStyle>
            <a:lvl1pPr marL="0" indent="0">
              <a:lnSpc>
                <a:spcPct val="100000"/>
              </a:lnSpc>
              <a:spcBef>
                <a:spcPts val="0"/>
              </a:spcBef>
              <a:buNone/>
              <a:defRPr sz="1015" baseline="0">
                <a:latin typeface="+mj-lt"/>
                <a:ea typeface="Verdana" pitchFamily="34" charset="0"/>
                <a:cs typeface="Verdana" pitchFamily="34" charset="0"/>
              </a:defRPr>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248000" y="2134800"/>
            <a:ext cx="3549000" cy="3600000"/>
          </a:xfrm>
          <a:prstGeom prst="rect">
            <a:avLst/>
          </a:prstGeom>
        </p:spPr>
        <p:txBody>
          <a:bodyPr vert="horz">
            <a:noAutofit/>
          </a:bodyPr>
          <a:lstStyle>
            <a:lvl1pPr marL="161196" indent="-161196" defTabSz="1824450">
              <a:spcBef>
                <a:spcPts val="1662"/>
              </a:spcBef>
              <a:buFont typeface="Wingdings" pitchFamily="2" charset="2"/>
              <a:buChar char="§"/>
              <a:defRPr sz="1477" baseline="0">
                <a:latin typeface="+mj-lt"/>
                <a:ea typeface="Verdana" pitchFamily="34" charset="0"/>
                <a:cs typeface="Verdana" pitchFamily="34" charset="0"/>
              </a:defRPr>
            </a:lvl1pPr>
            <a:lvl2pPr defTabSz="1824450">
              <a:defRPr sz="1477">
                <a:latin typeface="+mj-lt"/>
                <a:ea typeface="Verdana" pitchFamily="34" charset="0"/>
                <a:cs typeface="Verdana" pitchFamily="34" charset="0"/>
              </a:defRPr>
            </a:lvl2pPr>
            <a:lvl3pPr>
              <a:defRPr sz="1477">
                <a:latin typeface="Verdana" pitchFamily="34" charset="0"/>
                <a:ea typeface="Verdana" pitchFamily="34" charset="0"/>
                <a:cs typeface="Verdana" pitchFamily="34" charset="0"/>
              </a:defRPr>
            </a:lvl3pPr>
            <a:lvl4pPr>
              <a:defRPr sz="1477">
                <a:latin typeface="Verdana" pitchFamily="34" charset="0"/>
                <a:ea typeface="Verdana" pitchFamily="34" charset="0"/>
                <a:cs typeface="Verdana" pitchFamily="34" charset="0"/>
              </a:defRPr>
            </a:lvl4pPr>
            <a:lvl5pPr>
              <a:defRPr sz="1477">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7919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 Начало раздела">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894">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4" y="269875"/>
            <a:ext cx="234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63">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418003" y="6191264"/>
            <a:ext cx="1706322" cy="396875"/>
          </a:xfrm>
          <a:prstGeom prst="rect">
            <a:avLst/>
          </a:prstGeom>
          <a:noFill/>
          <a:ln w="9525">
            <a:noFill/>
            <a:miter lim="800000"/>
            <a:headEnd/>
            <a:tailEnd/>
          </a:ln>
        </p:spPr>
      </p:pic>
      <p:sp>
        <p:nvSpPr>
          <p:cNvPr id="10" name="Заголовок 1"/>
          <p:cNvSpPr>
            <a:spLocks noGrp="1"/>
          </p:cNvSpPr>
          <p:nvPr>
            <p:ph type="title" hasCustomPrompt="1"/>
          </p:nvPr>
        </p:nvSpPr>
        <p:spPr>
          <a:xfrm>
            <a:off x="2846766" y="2639129"/>
            <a:ext cx="6084026" cy="792088"/>
          </a:xfrm>
          <a:prstGeom prst="rect">
            <a:avLst/>
          </a:prstGeom>
        </p:spPr>
        <p:txBody>
          <a:bodyPr anchor="t" anchorCtr="0">
            <a:noAutofit/>
          </a:bodyPr>
          <a:lstStyle>
            <a:lvl1pPr algn="l">
              <a:lnSpc>
                <a:spcPct val="90000"/>
              </a:lnSpc>
              <a:defRPr sz="1800"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45610222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5"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894">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4" y="269875"/>
            <a:ext cx="234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63">
              <a:solidFill>
                <a:prstClr val="white"/>
              </a:solidFill>
            </a:endParaRPr>
          </a:p>
        </p:txBody>
      </p:sp>
      <p:pic>
        <p:nvPicPr>
          <p:cNvPr id="7"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2418003" y="6191250"/>
            <a:ext cx="1706400" cy="402211"/>
          </a:xfrm>
          <a:prstGeom prst="rect">
            <a:avLst/>
          </a:prstGeom>
          <a:noFill/>
          <a:ln w="9525">
            <a:noFill/>
            <a:miter lim="800000"/>
            <a:headEnd/>
            <a:tailEnd/>
          </a:ln>
        </p:spPr>
      </p:pic>
      <p:sp>
        <p:nvSpPr>
          <p:cNvPr id="10" name="Заголовок 1"/>
          <p:cNvSpPr>
            <a:spLocks noGrp="1"/>
          </p:cNvSpPr>
          <p:nvPr>
            <p:ph type="title" hasCustomPrompt="1"/>
          </p:nvPr>
        </p:nvSpPr>
        <p:spPr>
          <a:xfrm>
            <a:off x="2846766" y="2639129"/>
            <a:ext cx="6084026" cy="792088"/>
          </a:xfrm>
          <a:prstGeom prst="rect">
            <a:avLst/>
          </a:prstGeom>
        </p:spPr>
        <p:txBody>
          <a:bodyPr anchor="t" anchorCtr="0">
            <a:noAutofit/>
          </a:bodyPr>
          <a:lstStyle>
            <a:lvl1pPr algn="l">
              <a:lnSpc>
                <a:spcPct val="90000"/>
              </a:lnSpc>
              <a:defRPr sz="1800" b="1" baseline="0">
                <a:latin typeface="+mj-lt"/>
                <a:ea typeface="Verdana" pitchFamily="34" charset="0"/>
                <a:cs typeface="Verdana" pitchFamily="34" charset="0"/>
              </a:defRPr>
            </a:lvl1pPr>
          </a:lstStyle>
          <a:p>
            <a:r>
              <a:rPr lang="en-US" dirty="0" smtClean="0"/>
              <a:t/>
            </a:r>
            <a:br>
              <a:rPr lang="en-US" dirty="0" smtClean="0"/>
            </a:br>
            <a:r>
              <a:rPr lang="en-US" dirty="0" err="1" smtClean="0"/>
              <a:t>Devider</a:t>
            </a:r>
            <a:r>
              <a:rPr lang="en-US" dirty="0" smtClean="0"/>
              <a:t> title (</a:t>
            </a:r>
            <a:r>
              <a:rPr lang="en-US" dirty="0" err="1" smtClean="0"/>
              <a:t>light+bold</a:t>
            </a:r>
            <a:r>
              <a:rPr lang="en-US" dirty="0" smtClean="0"/>
              <a:t>)</a:t>
            </a:r>
            <a:endParaRPr lang="ru-RU" dirty="0"/>
          </a:p>
        </p:txBody>
      </p:sp>
    </p:spTree>
    <p:extLst>
      <p:ext uri="{BB962C8B-B14F-4D97-AF65-F5344CB8AC3E}">
        <p14:creationId xmlns:p14="http://schemas.microsoft.com/office/powerpoint/2010/main" val="29786985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 Слайд с текстом">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723" y="1602"/>
          <a:ext cx="1719" cy="1587"/>
        </p:xfrm>
        <a:graphic>
          <a:graphicData uri="http://schemas.openxmlformats.org/presentationml/2006/ole">
            <mc:AlternateContent xmlns:mc="http://schemas.openxmlformats.org/markup-compatibility/2006">
              <mc:Choice xmlns:v="urn:schemas-microsoft-com:vml" Requires="v">
                <p:oleObj spid="_x0000_s26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23" y="1602"/>
                        <a:ext cx="1719" cy="1587"/>
                      </a:xfrm>
                      <a:prstGeom prst="rect">
                        <a:avLst/>
                      </a:prstGeom>
                    </p:spPr>
                  </p:pic>
                </p:oleObj>
              </mc:Fallback>
            </mc:AlternateContent>
          </a:graphicData>
        </a:graphic>
      </p:graphicFrame>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894">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92364" y="269875"/>
            <a:ext cx="701675"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63">
              <a:solidFill>
                <a:prstClr val="white"/>
              </a:solidFill>
            </a:endParaRPr>
          </a:p>
        </p:txBody>
      </p:sp>
      <p:sp>
        <p:nvSpPr>
          <p:cNvPr id="10" name="Заголовок 1"/>
          <p:cNvSpPr>
            <a:spLocks noGrp="1"/>
          </p:cNvSpPr>
          <p:nvPr>
            <p:ph type="title" hasCustomPrompt="1"/>
          </p:nvPr>
        </p:nvSpPr>
        <p:spPr>
          <a:xfrm>
            <a:off x="994047" y="269875"/>
            <a:ext cx="8717489" cy="620752"/>
          </a:xfrm>
          <a:prstGeom prst="rect">
            <a:avLst/>
          </a:prstGeom>
        </p:spPr>
        <p:txBody>
          <a:bodyPr anchor="t" anchorCtr="0">
            <a:noAutofit/>
          </a:bodyPr>
          <a:lstStyle>
            <a:lvl1pPr algn="l">
              <a:defRPr sz="16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11" name="Текст 3"/>
          <p:cNvSpPr>
            <a:spLocks noGrp="1"/>
          </p:cNvSpPr>
          <p:nvPr>
            <p:ph type="body" sz="half" idx="2" hasCustomPrompt="1"/>
          </p:nvPr>
        </p:nvSpPr>
        <p:spPr>
          <a:xfrm>
            <a:off x="994046" y="1197152"/>
            <a:ext cx="8717489" cy="3600000"/>
          </a:xfrm>
          <a:prstGeom prst="rect">
            <a:avLst/>
          </a:prstGeom>
        </p:spPr>
        <p:txBody>
          <a:bodyPr>
            <a:normAutofit/>
          </a:bodyPr>
          <a:lstStyle>
            <a:lvl1pPr marL="0" indent="0">
              <a:lnSpc>
                <a:spcPct val="140000"/>
              </a:lnSpc>
              <a:spcBef>
                <a:spcPts val="0"/>
              </a:spcBef>
              <a:buNone/>
              <a:defRPr sz="1400" baseline="0">
                <a:latin typeface="+mj-lt"/>
                <a:ea typeface="Verdana" pitchFamily="34" charset="0"/>
                <a:cs typeface="Verdana" pitchFamily="34" charset="0"/>
              </a:defRPr>
            </a:lvl1pPr>
            <a:lvl2pPr marL="371466" indent="0">
              <a:buNone/>
              <a:defRPr sz="975"/>
            </a:lvl2pPr>
            <a:lvl3pPr marL="742931" indent="0">
              <a:buNone/>
              <a:defRPr sz="813"/>
            </a:lvl3pPr>
            <a:lvl4pPr marL="1114398" indent="0">
              <a:buNone/>
              <a:defRPr sz="731"/>
            </a:lvl4pPr>
            <a:lvl5pPr marL="1485863" indent="0">
              <a:buNone/>
              <a:defRPr sz="731"/>
            </a:lvl5pPr>
            <a:lvl6pPr marL="1857329" indent="0">
              <a:buNone/>
              <a:defRPr sz="731"/>
            </a:lvl6pPr>
            <a:lvl7pPr marL="2228794" indent="0">
              <a:buNone/>
              <a:defRPr sz="731"/>
            </a:lvl7pPr>
            <a:lvl8pPr marL="2600260" indent="0">
              <a:buNone/>
              <a:defRPr sz="731"/>
            </a:lvl8pPr>
            <a:lvl9pPr marL="2971726" indent="0">
              <a:buNone/>
              <a:defRPr sz="731"/>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pic>
        <p:nvPicPr>
          <p:cNvPr id="14" name="Picture 4" descr="H:\Moscow Exchange (ex-Micex-RTS) brandbook\MSCW_XCHNG_Master_Logo_Folder\PNG\RUSSIAN\MSCW_XCHNG_RGB_RUS.png"/>
          <p:cNvPicPr>
            <a:picLocks noChangeAspect="1" noChangeArrowheads="1"/>
          </p:cNvPicPr>
          <p:nvPr userDrawn="1"/>
        </p:nvPicPr>
        <p:blipFill>
          <a:blip r:embed="rId6" cstate="print"/>
          <a:srcRect/>
          <a:stretch>
            <a:fillRect/>
          </a:stretch>
        </p:blipFill>
        <p:spPr bwMode="auto">
          <a:xfrm>
            <a:off x="775886" y="6192023"/>
            <a:ext cx="1706322" cy="396875"/>
          </a:xfrm>
          <a:prstGeom prst="rect">
            <a:avLst/>
          </a:prstGeom>
          <a:noFill/>
          <a:ln w="9525">
            <a:noFill/>
            <a:miter lim="800000"/>
            <a:headEnd/>
            <a:tailEnd/>
          </a:ln>
        </p:spPr>
      </p:pic>
    </p:spTree>
    <p:extLst>
      <p:ext uri="{BB962C8B-B14F-4D97-AF65-F5344CB8AC3E}">
        <p14:creationId xmlns:p14="http://schemas.microsoft.com/office/powerpoint/2010/main" val="84231085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994047" y="269875"/>
            <a:ext cx="8717489" cy="620752"/>
          </a:xfrm>
          <a:prstGeom prst="rect">
            <a:avLst/>
          </a:prstGeom>
        </p:spPr>
        <p:txBody>
          <a:bodyPr anchor="t" anchorCtr="0">
            <a:noAutofit/>
          </a:bodyPr>
          <a:lstStyle>
            <a:lvl1pPr algn="l">
              <a:defRPr sz="1600" b="1" baseline="0">
                <a:latin typeface="+mj-lt"/>
                <a:ea typeface="Verdana" pitchFamily="34" charset="0"/>
                <a:cs typeface="Verdana" pitchFamily="34" charset="0"/>
              </a:defRPr>
            </a:lvl1pPr>
          </a:lstStyle>
          <a:p>
            <a:r>
              <a:rPr lang="en-US" dirty="0" smtClean="0"/>
              <a:t>SLIDE TITLE GOES HERE: TAHOMA 26 PT LIGHT + BOLD FOR THE TAIL!</a:t>
            </a:r>
            <a:endParaRPr lang="ru-RU" dirty="0"/>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E4E01335-259E-40F9-B4E1-7E4FDCDF6836}"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994046" y="1197152"/>
            <a:ext cx="8717489" cy="3600000"/>
          </a:xfrm>
          <a:prstGeom prst="rect">
            <a:avLst/>
          </a:prstGeom>
        </p:spPr>
        <p:txBody>
          <a:bodyPr>
            <a:normAutofit/>
          </a:bodyPr>
          <a:lstStyle>
            <a:lvl1pPr marL="0" indent="0">
              <a:lnSpc>
                <a:spcPct val="140000"/>
              </a:lnSpc>
              <a:spcBef>
                <a:spcPts val="0"/>
              </a:spcBef>
              <a:buNone/>
              <a:defRPr sz="1400" baseline="0">
                <a:latin typeface="+mj-lt"/>
                <a:ea typeface="Verdana" pitchFamily="34" charset="0"/>
                <a:cs typeface="Verdana" pitchFamily="34" charset="0"/>
              </a:defRPr>
            </a:lvl1pPr>
            <a:lvl2pPr marL="371466" indent="0">
              <a:buNone/>
              <a:defRPr sz="975"/>
            </a:lvl2pPr>
            <a:lvl3pPr marL="742931" indent="0">
              <a:buNone/>
              <a:defRPr sz="813"/>
            </a:lvl3pPr>
            <a:lvl4pPr marL="1114398" indent="0">
              <a:buNone/>
              <a:defRPr sz="731"/>
            </a:lvl4pPr>
            <a:lvl5pPr marL="1485863" indent="0">
              <a:buNone/>
              <a:defRPr sz="731"/>
            </a:lvl5pPr>
            <a:lvl6pPr marL="1857329" indent="0">
              <a:buNone/>
              <a:defRPr sz="731"/>
            </a:lvl6pPr>
            <a:lvl7pPr marL="2228794" indent="0">
              <a:buNone/>
              <a:defRPr sz="731"/>
            </a:lvl7pPr>
            <a:lvl8pPr marL="2600260" indent="0">
              <a:buNone/>
              <a:defRPr sz="731"/>
            </a:lvl8pPr>
            <a:lvl9pPr marL="2971726" indent="0">
              <a:buNone/>
              <a:defRPr sz="731"/>
            </a:lvl9pPr>
          </a:lstStyle>
          <a:p>
            <a:pPr lvl="0"/>
            <a:r>
              <a:rPr lang="en-US" dirty="0" smtClean="0"/>
              <a:t>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Simple text goes here in Tahoma regular Sentence Case 16 </a:t>
            </a:r>
            <a:r>
              <a:rPr lang="en-US" dirty="0" err="1" smtClean="0"/>
              <a:t>pt</a:t>
            </a:r>
            <a:r>
              <a:rPr lang="en-US" dirty="0" smtClean="0"/>
              <a:t> 1,4 lines. </a:t>
            </a:r>
          </a:p>
        </p:txBody>
      </p:sp>
      <p:sp>
        <p:nvSpPr>
          <p:cNvPr id="8" name="Прямоугольник 7"/>
          <p:cNvSpPr/>
          <p:nvPr/>
        </p:nvSpPr>
        <p:spPr>
          <a:xfrm>
            <a:off x="292364" y="269875"/>
            <a:ext cx="701675"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463">
              <a:solidFill>
                <a:prstClr val="white"/>
              </a:solidFill>
            </a:endParaRPr>
          </a:p>
        </p:txBody>
      </p:sp>
      <p:sp>
        <p:nvSpPr>
          <p:cNvPr id="11" name="Нижний колонтитул 4"/>
          <p:cNvSpPr>
            <a:spLocks noGrp="1"/>
          </p:cNvSpPr>
          <p:nvPr>
            <p:ph type="ftr" sz="quarter" idx="11"/>
          </p:nvPr>
        </p:nvSpPr>
        <p:spPr>
          <a:xfrm>
            <a:off x="4718974" y="6192000"/>
            <a:ext cx="4290026" cy="360000"/>
          </a:xfrm>
          <a:prstGeom prst="rect">
            <a:avLst/>
          </a:prstGeom>
        </p:spPr>
        <p:txBody>
          <a:bodyPr/>
          <a:lstStyle>
            <a:lvl1pPr algn="r">
              <a:defRPr sz="894">
                <a:latin typeface="+mj-lt"/>
                <a:ea typeface="Verdana" pitchFamily="34" charset="0"/>
                <a:cs typeface="Verdana" pitchFamily="34" charset="0"/>
              </a:defRPr>
            </a:lvl1pPr>
          </a:lstStyle>
          <a:p>
            <a:endParaRPr lang="ru-RU">
              <a:solidFill>
                <a:srgbClr val="000000">
                  <a:tint val="75000"/>
                </a:srgbClr>
              </a:solidFill>
            </a:endParaRPr>
          </a:p>
        </p:txBody>
      </p:sp>
      <p:pic>
        <p:nvPicPr>
          <p:cNvPr id="12" name="Picture 2" descr="H:\Moscow Exchange (ex-Micex-RTS) brandbook\MSCW_XCHNG_Master_Logo_Folder\PNG\ENGLISH\MSCW_XCHNG_RGB_ENG.png"/>
          <p:cNvPicPr>
            <a:picLocks noChangeAspect="1" noChangeArrowheads="1"/>
          </p:cNvPicPr>
          <p:nvPr userDrawn="1"/>
        </p:nvPicPr>
        <p:blipFill>
          <a:blip r:embed="rId2" cstate="print"/>
          <a:srcRect/>
          <a:stretch>
            <a:fillRect/>
          </a:stretch>
        </p:blipFill>
        <p:spPr bwMode="auto">
          <a:xfrm>
            <a:off x="775886" y="6188864"/>
            <a:ext cx="1706400" cy="402211"/>
          </a:xfrm>
          <a:prstGeom prst="rect">
            <a:avLst/>
          </a:prstGeom>
          <a:noFill/>
          <a:ln w="9525">
            <a:noFill/>
            <a:miter lim="800000"/>
            <a:headEnd/>
            <a:tailEnd/>
          </a:ln>
        </p:spPr>
      </p:pic>
    </p:spTree>
    <p:extLst>
      <p:ext uri="{BB962C8B-B14F-4D97-AF65-F5344CB8AC3E}">
        <p14:creationId xmlns:p14="http://schemas.microsoft.com/office/powerpoint/2010/main" val="248914584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06_ Слайд с буллетированным текстом и изображением">
    <p:spTree>
      <p:nvGrpSpPr>
        <p:cNvPr id="1" name=""/>
        <p:cNvGrpSpPr/>
        <p:nvPr/>
      </p:nvGrpSpPr>
      <p:grpSpPr>
        <a:xfrm>
          <a:off x="0" y="0"/>
          <a:ext cx="0" cy="0"/>
          <a:chOff x="0" y="0"/>
          <a:chExt cx="0" cy="0"/>
        </a:xfrm>
      </p:grpSpPr>
      <p:graphicFrame>
        <p:nvGraphicFramePr>
          <p:cNvPr id="4" name="Object 9"/>
          <p:cNvGraphicFramePr>
            <a:graphicFrameLocks noChangeAspect="1"/>
          </p:cNvGraphicFramePr>
          <p:nvPr>
            <p:custDataLst>
              <p:tags r:id="rId2"/>
            </p:custDataLst>
          </p:nvPr>
        </p:nvGraphicFramePr>
        <p:xfrm>
          <a:off x="1723" y="1610"/>
          <a:ext cx="1719" cy="1587"/>
        </p:xfrm>
        <a:graphic>
          <a:graphicData uri="http://schemas.openxmlformats.org/presentationml/2006/ole">
            <mc:AlternateContent xmlns:mc="http://schemas.openxmlformats.org/markup-compatibility/2006">
              <mc:Choice xmlns:v="urn:schemas-microsoft-com:vml" Requires="v">
                <p:oleObj spid="_x0000_s364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3" y="1610"/>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Прямоугольник 4"/>
          <p:cNvSpPr/>
          <p:nvPr/>
        </p:nvSpPr>
        <p:spPr>
          <a:xfrm>
            <a:off x="292364" y="269875"/>
            <a:ext cx="701675"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98">
              <a:solidFill>
                <a:prstClr val="white"/>
              </a:solidFill>
              <a:sym typeface="Tahoma"/>
            </a:endParaRPr>
          </a:p>
        </p:txBody>
      </p:sp>
      <p:sp>
        <p:nvSpPr>
          <p:cNvPr id="10" name="Вертикальный текст 2"/>
          <p:cNvSpPr>
            <a:spLocks noGrp="1"/>
          </p:cNvSpPr>
          <p:nvPr>
            <p:ph type="body" orient="vert" idx="1"/>
          </p:nvPr>
        </p:nvSpPr>
        <p:spPr>
          <a:xfrm>
            <a:off x="1248000" y="1196752"/>
            <a:ext cx="8034000" cy="4538048"/>
          </a:xfrm>
          <a:prstGeom prst="rect">
            <a:avLst/>
          </a:prstGeom>
        </p:spPr>
        <p:txBody>
          <a:bodyPr>
            <a:noAutofit/>
          </a:bodyPr>
          <a:lstStyle>
            <a:lvl1pPr marL="106410" indent="-106410" defTabSz="1204362">
              <a:spcBef>
                <a:spcPts val="1098"/>
              </a:spcBef>
              <a:buFont typeface="Wingdings" pitchFamily="2" charset="2"/>
              <a:buChar char="§"/>
              <a:defRPr sz="1400" baseline="0">
                <a:latin typeface="+mn-lt"/>
                <a:ea typeface="Verdana" pitchFamily="34" charset="0"/>
                <a:cs typeface="Verdana" pitchFamily="34" charset="0"/>
              </a:defRPr>
            </a:lvl1pPr>
            <a:lvl2pPr defTabSz="1204362">
              <a:defRPr sz="1400">
                <a:latin typeface="+mn-lt"/>
                <a:ea typeface="Verdana" pitchFamily="34" charset="0"/>
                <a:cs typeface="Verdana" pitchFamily="34" charset="0"/>
              </a:defRPr>
            </a:lvl2pPr>
            <a:lvl3pPr>
              <a:defRPr sz="1800">
                <a:latin typeface="Verdana" pitchFamily="34" charset="0"/>
                <a:ea typeface="Verdana" pitchFamily="34" charset="0"/>
                <a:cs typeface="Verdana" pitchFamily="34" charset="0"/>
              </a:defRPr>
            </a:lvl3pPr>
            <a:lvl4pPr>
              <a:defRPr sz="1800">
                <a:latin typeface="Verdana" pitchFamily="34" charset="0"/>
                <a:ea typeface="Verdana" pitchFamily="34" charset="0"/>
                <a:cs typeface="Verdana" pitchFamily="34" charset="0"/>
              </a:defRPr>
            </a:lvl4pPr>
            <a:lvl5pPr>
              <a:defRPr sz="1800">
                <a:latin typeface="Verdana" pitchFamily="34" charset="0"/>
                <a:ea typeface="Verdana" pitchFamily="34" charset="0"/>
                <a:cs typeface="Verdana"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13" name="Заголовок 1"/>
          <p:cNvSpPr>
            <a:spLocks noGrp="1"/>
          </p:cNvSpPr>
          <p:nvPr>
            <p:ph type="title"/>
          </p:nvPr>
        </p:nvSpPr>
        <p:spPr>
          <a:xfrm>
            <a:off x="1248000" y="288000"/>
            <a:ext cx="8034000" cy="756000"/>
          </a:xfrm>
          <a:prstGeom prst="rect">
            <a:avLst/>
          </a:prstGeom>
        </p:spPr>
        <p:txBody>
          <a:bodyPr anchor="t">
            <a:noAutofit/>
          </a:bodyPr>
          <a:lstStyle>
            <a:lvl1pPr algn="l">
              <a:defRPr sz="1600" b="1" baseline="0">
                <a:latin typeface="+mj-lt"/>
                <a:ea typeface="Verdana" pitchFamily="34" charset="0"/>
                <a:cs typeface="Verdana" pitchFamily="34" charset="0"/>
              </a:defRPr>
            </a:lvl1pPr>
          </a:lstStyle>
          <a:p>
            <a:r>
              <a:rPr lang="ru-RU" dirty="0" smtClean="0"/>
              <a:t>Образец заголовка</a:t>
            </a:r>
            <a:endParaRPr lang="ru-RU" dirty="0"/>
          </a:p>
        </p:txBody>
      </p:sp>
      <p:sp>
        <p:nvSpPr>
          <p:cNvPr id="7" name="Номер слайда 3"/>
          <p:cNvSpPr>
            <a:spLocks noGrp="1"/>
          </p:cNvSpPr>
          <p:nvPr>
            <p:ph type="sldNum"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cs typeface="Tahoma" pitchFamily="34" charset="0"/>
              </a:defRPr>
            </a:lvl1pPr>
          </a:lstStyle>
          <a:p>
            <a:fld id="{91115DCC-13C9-4CF0-854C-B471B31C2C1A}" type="slidenum">
              <a:rPr lang="ru-RU" altLang="ru-RU">
                <a:solidFill>
                  <a:srgbClr val="000000">
                    <a:tint val="75000"/>
                  </a:srgbClr>
                </a:solidFill>
              </a:rPr>
              <a:pPr/>
              <a:t>‹#›</a:t>
            </a:fld>
            <a:endParaRPr lang="ru-RU" altLang="ru-RU">
              <a:solidFill>
                <a:srgbClr val="000000">
                  <a:tint val="75000"/>
                </a:srgbClr>
              </a:solidFill>
            </a:endParaRPr>
          </a:p>
        </p:txBody>
      </p:sp>
      <p:pic>
        <p:nvPicPr>
          <p:cNvPr id="11" name="Picture 4" descr="H:\Moscow Exchange (ex-Micex-RTS) brandbook\MSCW_XCHNG_Master_Logo_Folder\PNG\RUSSIAN\MSCW_XCHNG_RGB_RUS.png"/>
          <p:cNvPicPr>
            <a:picLocks noChangeAspect="1" noChangeArrowheads="1"/>
          </p:cNvPicPr>
          <p:nvPr userDrawn="1"/>
        </p:nvPicPr>
        <p:blipFill>
          <a:blip r:embed="rId6" cstate="print"/>
          <a:srcRect/>
          <a:stretch>
            <a:fillRect/>
          </a:stretch>
        </p:blipFill>
        <p:spPr bwMode="auto">
          <a:xfrm>
            <a:off x="775886" y="6192023"/>
            <a:ext cx="1706322" cy="396875"/>
          </a:xfrm>
          <a:prstGeom prst="rect">
            <a:avLst/>
          </a:prstGeom>
          <a:noFill/>
          <a:ln w="9525">
            <a:noFill/>
            <a:miter lim="800000"/>
            <a:headEnd/>
            <a:tailEnd/>
          </a:ln>
        </p:spPr>
      </p:pic>
    </p:spTree>
    <p:extLst>
      <p:ext uri="{BB962C8B-B14F-4D97-AF65-F5344CB8AC3E}">
        <p14:creationId xmlns:p14="http://schemas.microsoft.com/office/powerpoint/2010/main" val="71988274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7_ Слайд с буллетированным текстом и изображением">
    <p:spTree>
      <p:nvGrpSpPr>
        <p:cNvPr id="1" name=""/>
        <p:cNvGrpSpPr/>
        <p:nvPr/>
      </p:nvGrpSpPr>
      <p:grpSpPr>
        <a:xfrm>
          <a:off x="0" y="0"/>
          <a:ext cx="0" cy="0"/>
          <a:chOff x="0" y="0"/>
          <a:chExt cx="0" cy="0"/>
        </a:xfrm>
      </p:grpSpPr>
      <p:graphicFrame>
        <p:nvGraphicFramePr>
          <p:cNvPr id="4" name="Object 9"/>
          <p:cNvGraphicFramePr>
            <a:graphicFrameLocks noChangeAspect="1"/>
          </p:cNvGraphicFramePr>
          <p:nvPr>
            <p:custDataLst>
              <p:tags r:id="rId2"/>
            </p:custDataLst>
          </p:nvPr>
        </p:nvGraphicFramePr>
        <p:xfrm>
          <a:off x="1723" y="1610"/>
          <a:ext cx="1719" cy="1587"/>
        </p:xfrm>
        <a:graphic>
          <a:graphicData uri="http://schemas.openxmlformats.org/presentationml/2006/ole">
            <mc:AlternateContent xmlns:mc="http://schemas.openxmlformats.org/markup-compatibility/2006">
              <mc:Choice xmlns:v="urn:schemas-microsoft-com:vml" Requires="v">
                <p:oleObj spid="_x0000_s1282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3" y="1610"/>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Прямоугольник 4"/>
          <p:cNvSpPr/>
          <p:nvPr/>
        </p:nvSpPr>
        <p:spPr>
          <a:xfrm>
            <a:off x="292364" y="269875"/>
            <a:ext cx="701675"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098">
              <a:solidFill>
                <a:prstClr val="white"/>
              </a:solidFill>
              <a:sym typeface="Tahoma"/>
            </a:endParaRPr>
          </a:p>
        </p:txBody>
      </p:sp>
      <p:sp>
        <p:nvSpPr>
          <p:cNvPr id="10" name="Вертикальный текст 2"/>
          <p:cNvSpPr>
            <a:spLocks noGrp="1"/>
          </p:cNvSpPr>
          <p:nvPr>
            <p:ph type="body" orient="vert" idx="1"/>
          </p:nvPr>
        </p:nvSpPr>
        <p:spPr>
          <a:xfrm>
            <a:off x="1248000" y="1196752"/>
            <a:ext cx="8034000" cy="4538048"/>
          </a:xfrm>
          <a:prstGeom prst="rect">
            <a:avLst/>
          </a:prstGeom>
        </p:spPr>
        <p:txBody>
          <a:bodyPr>
            <a:noAutofit/>
          </a:bodyPr>
          <a:lstStyle>
            <a:lvl1pPr marL="106410" indent="-106410" defTabSz="1204362">
              <a:spcBef>
                <a:spcPts val="1098"/>
              </a:spcBef>
              <a:buFont typeface="Wingdings" pitchFamily="2" charset="2"/>
              <a:buChar char="§"/>
              <a:defRPr sz="1400" baseline="0">
                <a:latin typeface="+mn-lt"/>
                <a:ea typeface="Verdana" pitchFamily="34" charset="0"/>
                <a:cs typeface="Verdana" pitchFamily="34" charset="0"/>
              </a:defRPr>
            </a:lvl1pPr>
            <a:lvl2pPr defTabSz="1204362">
              <a:defRPr sz="1400">
                <a:latin typeface="+mn-lt"/>
                <a:ea typeface="Verdana" pitchFamily="34" charset="0"/>
                <a:cs typeface="Verdana" pitchFamily="34" charset="0"/>
              </a:defRPr>
            </a:lvl2pPr>
            <a:lvl3pPr>
              <a:defRPr sz="1400">
                <a:latin typeface="Verdana" pitchFamily="34" charset="0"/>
                <a:ea typeface="Verdana" pitchFamily="34" charset="0"/>
                <a:cs typeface="Verdana" pitchFamily="34" charset="0"/>
              </a:defRPr>
            </a:lvl3pPr>
            <a:lvl4pPr>
              <a:defRPr sz="1400">
                <a:latin typeface="Verdana" pitchFamily="34" charset="0"/>
                <a:ea typeface="Verdana" pitchFamily="34" charset="0"/>
                <a:cs typeface="Verdana" pitchFamily="34" charset="0"/>
              </a:defRPr>
            </a:lvl4pPr>
            <a:lvl5pPr>
              <a:defRPr sz="1400">
                <a:latin typeface="Verdana" pitchFamily="34" charset="0"/>
                <a:ea typeface="Verdana" pitchFamily="34" charset="0"/>
                <a:cs typeface="Verdana" pitchFamily="34" charset="0"/>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smtClean="0"/>
          </a:p>
        </p:txBody>
      </p:sp>
      <p:sp>
        <p:nvSpPr>
          <p:cNvPr id="13" name="Заголовок 1"/>
          <p:cNvSpPr>
            <a:spLocks noGrp="1"/>
          </p:cNvSpPr>
          <p:nvPr>
            <p:ph type="title"/>
          </p:nvPr>
        </p:nvSpPr>
        <p:spPr>
          <a:xfrm>
            <a:off x="1248000" y="288000"/>
            <a:ext cx="8034000" cy="756000"/>
          </a:xfrm>
          <a:prstGeom prst="rect">
            <a:avLst/>
          </a:prstGeom>
        </p:spPr>
        <p:txBody>
          <a:bodyPr anchor="t">
            <a:noAutofit/>
          </a:bodyPr>
          <a:lstStyle>
            <a:lvl1pPr algn="l">
              <a:defRPr sz="1600" b="1" baseline="0">
                <a:latin typeface="+mj-lt"/>
                <a:ea typeface="Verdana" pitchFamily="34" charset="0"/>
                <a:cs typeface="Verdana" pitchFamily="34" charset="0"/>
              </a:defRPr>
            </a:lvl1pPr>
          </a:lstStyle>
          <a:p>
            <a:r>
              <a:rPr lang="ru-RU" smtClean="0"/>
              <a:t>Образец заголовка</a:t>
            </a:r>
            <a:endParaRPr lang="ru-RU" dirty="0"/>
          </a:p>
        </p:txBody>
      </p:sp>
      <p:sp>
        <p:nvSpPr>
          <p:cNvPr id="7" name="Номер слайда 3"/>
          <p:cNvSpPr>
            <a:spLocks noGrp="1"/>
          </p:cNvSpPr>
          <p:nvPr>
            <p:ph type="sldNum" sz="quarter" idx="10"/>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cs typeface="Tahoma" pitchFamily="34" charset="0"/>
              </a:defRPr>
            </a:lvl1pPr>
          </a:lstStyle>
          <a:p>
            <a:fld id="{91115DCC-13C9-4CF0-854C-B471B31C2C1A}" type="slidenum">
              <a:rPr lang="ru-RU" altLang="ru-RU">
                <a:solidFill>
                  <a:srgbClr val="000000">
                    <a:tint val="75000"/>
                  </a:srgbClr>
                </a:solidFill>
              </a:rPr>
              <a:pPr/>
              <a:t>‹#›</a:t>
            </a:fld>
            <a:endParaRPr lang="ru-RU" altLang="ru-RU">
              <a:solidFill>
                <a:srgbClr val="000000">
                  <a:tint val="75000"/>
                </a:srgbClr>
              </a:solidFill>
            </a:endParaRPr>
          </a:p>
        </p:txBody>
      </p:sp>
      <p:pic>
        <p:nvPicPr>
          <p:cNvPr id="11" name="Picture 2" descr="H:\Moscow Exchange (ex-Micex-RTS) brandbook\MSCW_XCHNG_Master_Logo_Folder\PNG\ENGLISH\MSCW_XCHNG_RGB_ENG.png"/>
          <p:cNvPicPr>
            <a:picLocks noChangeAspect="1" noChangeArrowheads="1"/>
          </p:cNvPicPr>
          <p:nvPr userDrawn="1"/>
        </p:nvPicPr>
        <p:blipFill>
          <a:blip r:embed="rId6" cstate="print"/>
          <a:srcRect/>
          <a:stretch>
            <a:fillRect/>
          </a:stretch>
        </p:blipFill>
        <p:spPr bwMode="auto">
          <a:xfrm>
            <a:off x="775886" y="6188864"/>
            <a:ext cx="1706400" cy="402211"/>
          </a:xfrm>
          <a:prstGeom prst="rect">
            <a:avLst/>
          </a:prstGeom>
          <a:noFill/>
          <a:ln w="9525">
            <a:noFill/>
            <a:miter lim="800000"/>
            <a:headEnd/>
            <a:tailEnd/>
          </a:ln>
        </p:spPr>
      </p:pic>
    </p:spTree>
    <p:extLst>
      <p:ext uri="{BB962C8B-B14F-4D97-AF65-F5344CB8AC3E}">
        <p14:creationId xmlns:p14="http://schemas.microsoft.com/office/powerpoint/2010/main" val="333114050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 Слайд с текстом">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userDrawn="1"/>
        </p:nvPicPr>
        <p:blipFill>
          <a:blip r:embed="rId2" cstate="print"/>
          <a:srcRect/>
          <a:stretch>
            <a:fillRect/>
          </a:stretch>
        </p:blipFill>
        <p:spPr bwMode="auto">
          <a:xfrm>
            <a:off x="116463" y="6191264"/>
            <a:ext cx="1706322" cy="396875"/>
          </a:xfrm>
          <a:prstGeom prst="rect">
            <a:avLst/>
          </a:prstGeom>
          <a:noFill/>
          <a:ln w="9525">
            <a:noFill/>
            <a:miter lim="800000"/>
            <a:headEnd/>
            <a:tailEnd/>
          </a:ln>
        </p:spPr>
      </p:pic>
      <p:sp>
        <p:nvSpPr>
          <p:cNvPr id="2" name="Заголовок 1"/>
          <p:cNvSpPr>
            <a:spLocks noGrp="1"/>
          </p:cNvSpPr>
          <p:nvPr>
            <p:ph type="title" hasCustomPrompt="1"/>
          </p:nvPr>
        </p:nvSpPr>
        <p:spPr>
          <a:xfrm>
            <a:off x="116463" y="289576"/>
            <a:ext cx="9595066" cy="403120"/>
          </a:xfrm>
          <a:prstGeom prst="rect">
            <a:avLst/>
          </a:prstGeom>
        </p:spPr>
        <p:txBody>
          <a:bodyPr anchor="t" anchorCtr="0">
            <a:noAutofit/>
          </a:bodyPr>
          <a:lstStyle>
            <a:lvl1pPr algn="l">
              <a:defRPr sz="1600" b="1"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3237000" y="6192000"/>
            <a:ext cx="5772000" cy="360000"/>
          </a:xfrm>
          <a:prstGeom prst="rect">
            <a:avLst/>
          </a:prstGeom>
        </p:spPr>
        <p:txBody>
          <a:bodyPr/>
          <a:lstStyle>
            <a:lvl1pPr algn="r">
              <a:defRPr sz="894">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9087000" y="6192000"/>
            <a:ext cx="39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dirty="0">
              <a:solidFill>
                <a:srgbClr val="000000">
                  <a:tint val="75000"/>
                </a:srgbClr>
              </a:solidFill>
            </a:endParaRPr>
          </a:p>
        </p:txBody>
      </p:sp>
    </p:spTree>
    <p:extLst>
      <p:ext uri="{BB962C8B-B14F-4D97-AF65-F5344CB8AC3E}">
        <p14:creationId xmlns:p14="http://schemas.microsoft.com/office/powerpoint/2010/main" val="302398738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5.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5.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15"/>
            </p:custDataLst>
            <p:extLst/>
          </p:nvPr>
        </p:nvGraphicFramePr>
        <p:xfrm>
          <a:off x="1723" y="1602"/>
          <a:ext cx="1719" cy="1587"/>
        </p:xfrm>
        <a:graphic>
          <a:graphicData uri="http://schemas.openxmlformats.org/presentationml/2006/ole">
            <mc:AlternateContent xmlns:mc="http://schemas.openxmlformats.org/markup-compatibility/2006">
              <mc:Choice xmlns:v="urn:schemas-microsoft-com:vml" Requires="v">
                <p:oleObj spid="_x0000_s1596" name="think-cell Slide" r:id="rId16" imgW="216" imgH="216" progId="TCLayout.ActiveDocument.1">
                  <p:embed/>
                </p:oleObj>
              </mc:Choice>
              <mc:Fallback>
                <p:oleObj name="think-cell Slide" r:id="rId16" imgW="216" imgH="216"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723" y="1602"/>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95300" y="1600206"/>
            <a:ext cx="89154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95300" y="6356364"/>
            <a:ext cx="2311400" cy="365125"/>
          </a:xfrm>
          <a:prstGeom prst="rect">
            <a:avLst/>
          </a:prstGeom>
        </p:spPr>
        <p:txBody>
          <a:bodyPr vert="horz" lIns="91440" tIns="45720" rIns="91440" bIns="45720" rtlCol="0" anchor="ctr"/>
          <a:lstStyle>
            <a:lvl1pPr algn="l">
              <a:defRPr sz="975">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384550" y="6356364"/>
            <a:ext cx="3136900" cy="365125"/>
          </a:xfrm>
          <a:prstGeom prst="rect">
            <a:avLst/>
          </a:prstGeom>
        </p:spPr>
        <p:txBody>
          <a:bodyPr vert="horz" lIns="91440" tIns="45720" rIns="91440" bIns="45720" rtlCol="0" anchor="ctr"/>
          <a:lstStyle>
            <a:lvl1pPr algn="ctr">
              <a:defRPr sz="975">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7099300" y="6356364"/>
            <a:ext cx="2311400" cy="365125"/>
          </a:xfrm>
          <a:prstGeom prst="rect">
            <a:avLst/>
          </a:prstGeom>
        </p:spPr>
        <p:txBody>
          <a:bodyPr vert="horz" lIns="91440" tIns="45720" rIns="91440" bIns="45720" rtlCol="0" anchor="ctr"/>
          <a:lstStyle>
            <a:lvl1pPr algn="r">
              <a:defRPr sz="975">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23759464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91" r:id="rId4"/>
    <p:sldLayoutId id="2147483664" r:id="rId5"/>
    <p:sldLayoutId id="2147483667" r:id="rId6"/>
    <p:sldLayoutId id="2147483668" r:id="rId7"/>
    <p:sldLayoutId id="2147483692" r:id="rId8"/>
    <p:sldLayoutId id="2147483665" r:id="rId9"/>
    <p:sldLayoutId id="2147483666" r:id="rId10"/>
    <p:sldLayoutId id="2147483690" r:id="rId11"/>
    <p:sldLayoutId id="2147483694" r:id="rId12"/>
  </p:sldLayoutIdLst>
  <p:timing>
    <p:tnLst>
      <p:par>
        <p:cTn id="1" dur="indefinite" restart="never" nodeType="tmRoot"/>
      </p:par>
    </p:tnLst>
  </p:timing>
  <p:hf hdr="0" ftr="0" dt="0"/>
  <p:txStyles>
    <p:titleStyle>
      <a:lvl1pPr algn="ctr" defTabSz="742931" rtl="0" eaLnBrk="1" latinLnBrk="0" hangingPunct="1">
        <a:spcBef>
          <a:spcPct val="0"/>
        </a:spcBef>
        <a:buNone/>
        <a:defRPr sz="3575" kern="1200">
          <a:solidFill>
            <a:schemeClr val="tx1"/>
          </a:solidFill>
          <a:latin typeface="+mj-lt"/>
          <a:ea typeface="+mj-ea"/>
          <a:cs typeface="+mj-cs"/>
        </a:defRPr>
      </a:lvl1pPr>
    </p:titleStyle>
    <p:bodyStyle>
      <a:lvl1pPr marL="278599" indent="-278599" algn="l" defTabSz="742931" rtl="0" eaLnBrk="1" latinLnBrk="0" hangingPunct="1">
        <a:spcBef>
          <a:spcPct val="20000"/>
        </a:spcBef>
        <a:buFont typeface="Arial" pitchFamily="34" charset="0"/>
        <a:buChar char="•"/>
        <a:defRPr sz="2600" kern="1200">
          <a:solidFill>
            <a:schemeClr val="tx1"/>
          </a:solidFill>
          <a:latin typeface="+mn-lt"/>
          <a:ea typeface="+mn-ea"/>
          <a:cs typeface="+mn-cs"/>
        </a:defRPr>
      </a:lvl1pPr>
      <a:lvl2pPr marL="603632" indent="-232167" algn="l" defTabSz="742931" rtl="0" eaLnBrk="1" latinLnBrk="0" hangingPunct="1">
        <a:spcBef>
          <a:spcPct val="20000"/>
        </a:spcBef>
        <a:buFont typeface="Arial" pitchFamily="34" charset="0"/>
        <a:buChar char="–"/>
        <a:defRPr sz="2275" kern="1200">
          <a:solidFill>
            <a:schemeClr val="tx1"/>
          </a:solidFill>
          <a:latin typeface="+mn-lt"/>
          <a:ea typeface="+mn-ea"/>
          <a:cs typeface="+mn-cs"/>
        </a:defRPr>
      </a:lvl2pPr>
      <a:lvl3pPr marL="928663" indent="-185733" algn="l" defTabSz="742931" rtl="0" eaLnBrk="1" latinLnBrk="0" hangingPunct="1">
        <a:spcBef>
          <a:spcPct val="20000"/>
        </a:spcBef>
        <a:buFont typeface="Arial" pitchFamily="34" charset="0"/>
        <a:buChar char="•"/>
        <a:defRPr sz="1950" kern="1200">
          <a:solidFill>
            <a:schemeClr val="tx1"/>
          </a:solidFill>
          <a:latin typeface="+mn-lt"/>
          <a:ea typeface="+mn-ea"/>
          <a:cs typeface="+mn-cs"/>
        </a:defRPr>
      </a:lvl3pPr>
      <a:lvl4pPr marL="1300131" indent="-185733" algn="l" defTabSz="742931" rtl="0" eaLnBrk="1" latinLnBrk="0" hangingPunct="1">
        <a:spcBef>
          <a:spcPct val="20000"/>
        </a:spcBef>
        <a:buFont typeface="Arial" pitchFamily="34" charset="0"/>
        <a:buChar char="–"/>
        <a:defRPr sz="1625" kern="1200">
          <a:solidFill>
            <a:schemeClr val="tx1"/>
          </a:solidFill>
          <a:latin typeface="+mn-lt"/>
          <a:ea typeface="+mn-ea"/>
          <a:cs typeface="+mn-cs"/>
        </a:defRPr>
      </a:lvl4pPr>
      <a:lvl5pPr marL="1671597" indent="-185733" algn="l" defTabSz="742931" rtl="0" eaLnBrk="1" latinLnBrk="0" hangingPunct="1">
        <a:spcBef>
          <a:spcPct val="20000"/>
        </a:spcBef>
        <a:buFont typeface="Arial" pitchFamily="34" charset="0"/>
        <a:buChar char="»"/>
        <a:defRPr sz="1625" kern="1200">
          <a:solidFill>
            <a:schemeClr val="tx1"/>
          </a:solidFill>
          <a:latin typeface="+mn-lt"/>
          <a:ea typeface="+mn-ea"/>
          <a:cs typeface="+mn-cs"/>
        </a:defRPr>
      </a:lvl5pPr>
      <a:lvl6pPr marL="2043061" indent="-185733" algn="l" defTabSz="742931" rtl="0" eaLnBrk="1" latinLnBrk="0" hangingPunct="1">
        <a:spcBef>
          <a:spcPct val="20000"/>
        </a:spcBef>
        <a:buFont typeface="Arial" pitchFamily="34" charset="0"/>
        <a:buChar char="•"/>
        <a:defRPr sz="1625" kern="1200">
          <a:solidFill>
            <a:schemeClr val="tx1"/>
          </a:solidFill>
          <a:latin typeface="+mn-lt"/>
          <a:ea typeface="+mn-ea"/>
          <a:cs typeface="+mn-cs"/>
        </a:defRPr>
      </a:lvl6pPr>
      <a:lvl7pPr marL="2414527" indent="-185733" algn="l" defTabSz="742931" rtl="0" eaLnBrk="1" latinLnBrk="0" hangingPunct="1">
        <a:spcBef>
          <a:spcPct val="20000"/>
        </a:spcBef>
        <a:buFont typeface="Arial" pitchFamily="34" charset="0"/>
        <a:buChar char="•"/>
        <a:defRPr sz="1625" kern="1200">
          <a:solidFill>
            <a:schemeClr val="tx1"/>
          </a:solidFill>
          <a:latin typeface="+mn-lt"/>
          <a:ea typeface="+mn-ea"/>
          <a:cs typeface="+mn-cs"/>
        </a:defRPr>
      </a:lvl7pPr>
      <a:lvl8pPr marL="2785993" indent="-185733" algn="l" defTabSz="742931" rtl="0" eaLnBrk="1" latinLnBrk="0" hangingPunct="1">
        <a:spcBef>
          <a:spcPct val="20000"/>
        </a:spcBef>
        <a:buFont typeface="Arial" pitchFamily="34" charset="0"/>
        <a:buChar char="•"/>
        <a:defRPr sz="1625" kern="1200">
          <a:solidFill>
            <a:schemeClr val="tx1"/>
          </a:solidFill>
          <a:latin typeface="+mn-lt"/>
          <a:ea typeface="+mn-ea"/>
          <a:cs typeface="+mn-cs"/>
        </a:defRPr>
      </a:lvl8pPr>
      <a:lvl9pPr marL="3157459" indent="-185733" algn="l" defTabSz="742931" rtl="0" eaLnBrk="1" latinLnBrk="0" hangingPunct="1">
        <a:spcBef>
          <a:spcPct val="20000"/>
        </a:spcBef>
        <a:buFont typeface="Arial" pitchFamily="34" charset="0"/>
        <a:buChar char="•"/>
        <a:defRPr sz="1625" kern="1200">
          <a:solidFill>
            <a:schemeClr val="tx1"/>
          </a:solidFill>
          <a:latin typeface="+mn-lt"/>
          <a:ea typeface="+mn-ea"/>
          <a:cs typeface="+mn-cs"/>
        </a:defRPr>
      </a:lvl9pPr>
    </p:bodyStyle>
    <p:otherStyle>
      <a:defPPr>
        <a:defRPr lang="ru-RU"/>
      </a:defPPr>
      <a:lvl1pPr marL="0" algn="l" defTabSz="742931" rtl="0" eaLnBrk="1" latinLnBrk="0" hangingPunct="1">
        <a:defRPr sz="1463" kern="1200">
          <a:solidFill>
            <a:schemeClr val="tx1"/>
          </a:solidFill>
          <a:latin typeface="+mn-lt"/>
          <a:ea typeface="+mn-ea"/>
          <a:cs typeface="+mn-cs"/>
        </a:defRPr>
      </a:lvl1pPr>
      <a:lvl2pPr marL="371466" algn="l" defTabSz="742931" rtl="0" eaLnBrk="1" latinLnBrk="0" hangingPunct="1">
        <a:defRPr sz="1463" kern="1200">
          <a:solidFill>
            <a:schemeClr val="tx1"/>
          </a:solidFill>
          <a:latin typeface="+mn-lt"/>
          <a:ea typeface="+mn-ea"/>
          <a:cs typeface="+mn-cs"/>
        </a:defRPr>
      </a:lvl2pPr>
      <a:lvl3pPr marL="742931" algn="l" defTabSz="742931" rtl="0" eaLnBrk="1" latinLnBrk="0" hangingPunct="1">
        <a:defRPr sz="1463" kern="1200">
          <a:solidFill>
            <a:schemeClr val="tx1"/>
          </a:solidFill>
          <a:latin typeface="+mn-lt"/>
          <a:ea typeface="+mn-ea"/>
          <a:cs typeface="+mn-cs"/>
        </a:defRPr>
      </a:lvl3pPr>
      <a:lvl4pPr marL="1114398" algn="l" defTabSz="742931" rtl="0" eaLnBrk="1" latinLnBrk="0" hangingPunct="1">
        <a:defRPr sz="1463" kern="1200">
          <a:solidFill>
            <a:schemeClr val="tx1"/>
          </a:solidFill>
          <a:latin typeface="+mn-lt"/>
          <a:ea typeface="+mn-ea"/>
          <a:cs typeface="+mn-cs"/>
        </a:defRPr>
      </a:lvl4pPr>
      <a:lvl5pPr marL="1485863" algn="l" defTabSz="742931" rtl="0" eaLnBrk="1" latinLnBrk="0" hangingPunct="1">
        <a:defRPr sz="1463" kern="1200">
          <a:solidFill>
            <a:schemeClr val="tx1"/>
          </a:solidFill>
          <a:latin typeface="+mn-lt"/>
          <a:ea typeface="+mn-ea"/>
          <a:cs typeface="+mn-cs"/>
        </a:defRPr>
      </a:lvl5pPr>
      <a:lvl6pPr marL="1857329" algn="l" defTabSz="742931" rtl="0" eaLnBrk="1" latinLnBrk="0" hangingPunct="1">
        <a:defRPr sz="1463" kern="1200">
          <a:solidFill>
            <a:schemeClr val="tx1"/>
          </a:solidFill>
          <a:latin typeface="+mn-lt"/>
          <a:ea typeface="+mn-ea"/>
          <a:cs typeface="+mn-cs"/>
        </a:defRPr>
      </a:lvl6pPr>
      <a:lvl7pPr marL="2228794" algn="l" defTabSz="742931" rtl="0" eaLnBrk="1" latinLnBrk="0" hangingPunct="1">
        <a:defRPr sz="1463" kern="1200">
          <a:solidFill>
            <a:schemeClr val="tx1"/>
          </a:solidFill>
          <a:latin typeface="+mn-lt"/>
          <a:ea typeface="+mn-ea"/>
          <a:cs typeface="+mn-cs"/>
        </a:defRPr>
      </a:lvl7pPr>
      <a:lvl8pPr marL="2600260" algn="l" defTabSz="742931" rtl="0" eaLnBrk="1" latinLnBrk="0" hangingPunct="1">
        <a:defRPr sz="1463" kern="1200">
          <a:solidFill>
            <a:schemeClr val="tx1"/>
          </a:solidFill>
          <a:latin typeface="+mn-lt"/>
          <a:ea typeface="+mn-ea"/>
          <a:cs typeface="+mn-cs"/>
        </a:defRPr>
      </a:lvl8pPr>
      <a:lvl9pPr marL="2971726" algn="l" defTabSz="742931" rtl="0" eaLnBrk="1" latinLnBrk="0" hangingPunct="1">
        <a:defRPr sz="14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15"/>
            </p:custDataLst>
            <p:extLst/>
          </p:nvPr>
        </p:nvGraphicFramePr>
        <p:xfrm>
          <a:off x="1724" y="1604"/>
          <a:ext cx="1719" cy="1587"/>
        </p:xfrm>
        <a:graphic>
          <a:graphicData uri="http://schemas.openxmlformats.org/presentationml/2006/ole">
            <mc:AlternateContent xmlns:mc="http://schemas.openxmlformats.org/markup-compatibility/2006">
              <mc:Choice xmlns:v="urn:schemas-microsoft-com:vml" Requires="v">
                <p:oleObj spid="_x0000_s13787" name="think-cell Slide" r:id="rId16" imgW="216" imgH="216" progId="TCLayout.ActiveDocument.1">
                  <p:embed/>
                </p:oleObj>
              </mc:Choice>
              <mc:Fallback>
                <p:oleObj name="think-cell Slide" r:id="rId16" imgW="216" imgH="216" progId="TCLayout.ActiveDocument.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724" y="1604"/>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Заголовок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95300" y="1600206"/>
            <a:ext cx="89154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95300" y="6356366"/>
            <a:ext cx="2311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ru-RU">
              <a:solidFill>
                <a:srgbClr val="000000">
                  <a:tint val="75000"/>
                </a:srgbClr>
              </a:solidFill>
            </a:endParaRPr>
          </a:p>
        </p:txBody>
      </p:sp>
      <p:sp>
        <p:nvSpPr>
          <p:cNvPr id="5" name="Нижний колонтитул 4"/>
          <p:cNvSpPr>
            <a:spLocks noGrp="1"/>
          </p:cNvSpPr>
          <p:nvPr>
            <p:ph type="ftr" sz="quarter" idx="3"/>
          </p:nvPr>
        </p:nvSpPr>
        <p:spPr>
          <a:xfrm>
            <a:off x="3384550" y="6356366"/>
            <a:ext cx="31369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ru-RU">
              <a:solidFill>
                <a:srgbClr val="000000">
                  <a:tint val="75000"/>
                </a:srgbClr>
              </a:solidFill>
            </a:endParaRPr>
          </a:p>
        </p:txBody>
      </p:sp>
      <p:sp>
        <p:nvSpPr>
          <p:cNvPr id="6" name="Номер слайда 5"/>
          <p:cNvSpPr>
            <a:spLocks noGrp="1"/>
          </p:cNvSpPr>
          <p:nvPr>
            <p:ph type="sldNum" sz="quarter" idx="4"/>
          </p:nvPr>
        </p:nvSpPr>
        <p:spPr>
          <a:xfrm>
            <a:off x="7099300" y="6356366"/>
            <a:ext cx="2311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Tree>
    <p:extLst>
      <p:ext uri="{BB962C8B-B14F-4D97-AF65-F5344CB8AC3E}">
        <p14:creationId xmlns:p14="http://schemas.microsoft.com/office/powerpoint/2010/main" val="402245965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timing>
    <p:tnLst>
      <p:par>
        <p:cTn id="1" dur="indefinite" restart="never" nodeType="tmRoot"/>
      </p:par>
    </p:tnLst>
  </p:timing>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49"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1"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1"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1"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6" Type="http://schemas.openxmlformats.org/officeDocument/2006/relationships/tags" Target="../tags/tag34.xml"/><Relationship Id="rId21" Type="http://schemas.openxmlformats.org/officeDocument/2006/relationships/tags" Target="../tags/tag29.xml"/><Relationship Id="rId42" Type="http://schemas.openxmlformats.org/officeDocument/2006/relationships/tags" Target="../tags/tag50.xml"/><Relationship Id="rId47" Type="http://schemas.openxmlformats.org/officeDocument/2006/relationships/tags" Target="../tags/tag55.xml"/><Relationship Id="rId63" Type="http://schemas.openxmlformats.org/officeDocument/2006/relationships/tags" Target="../tags/tag71.xml"/><Relationship Id="rId68" Type="http://schemas.openxmlformats.org/officeDocument/2006/relationships/tags" Target="../tags/tag76.xml"/><Relationship Id="rId84" Type="http://schemas.openxmlformats.org/officeDocument/2006/relationships/tags" Target="../tags/tag92.xml"/><Relationship Id="rId89" Type="http://schemas.openxmlformats.org/officeDocument/2006/relationships/tags" Target="../tags/tag97.xml"/><Relationship Id="rId7" Type="http://schemas.openxmlformats.org/officeDocument/2006/relationships/tags" Target="../tags/tag15.xml"/><Relationship Id="rId71" Type="http://schemas.openxmlformats.org/officeDocument/2006/relationships/tags" Target="../tags/tag79.xml"/><Relationship Id="rId92" Type="http://schemas.openxmlformats.org/officeDocument/2006/relationships/tags" Target="../tags/tag100.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07" Type="http://schemas.openxmlformats.org/officeDocument/2006/relationships/chart" Target="../charts/chart15.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tags" Target="../tags/tag61.xml"/><Relationship Id="rId58" Type="http://schemas.openxmlformats.org/officeDocument/2006/relationships/tags" Target="../tags/tag66.xml"/><Relationship Id="rId66" Type="http://schemas.openxmlformats.org/officeDocument/2006/relationships/tags" Target="../tags/tag74.xml"/><Relationship Id="rId74" Type="http://schemas.openxmlformats.org/officeDocument/2006/relationships/tags" Target="../tags/tag82.xml"/><Relationship Id="rId79" Type="http://schemas.openxmlformats.org/officeDocument/2006/relationships/tags" Target="../tags/tag87.xml"/><Relationship Id="rId87" Type="http://schemas.openxmlformats.org/officeDocument/2006/relationships/tags" Target="../tags/tag95.xml"/><Relationship Id="rId102" Type="http://schemas.openxmlformats.org/officeDocument/2006/relationships/chart" Target="../charts/chart10.xml"/><Relationship Id="rId5" Type="http://schemas.openxmlformats.org/officeDocument/2006/relationships/tags" Target="../tags/tag13.xml"/><Relationship Id="rId61" Type="http://schemas.openxmlformats.org/officeDocument/2006/relationships/tags" Target="../tags/tag69.xml"/><Relationship Id="rId82" Type="http://schemas.openxmlformats.org/officeDocument/2006/relationships/tags" Target="../tags/tag90.xml"/><Relationship Id="rId90" Type="http://schemas.openxmlformats.org/officeDocument/2006/relationships/tags" Target="../tags/tag98.xml"/><Relationship Id="rId95" Type="http://schemas.openxmlformats.org/officeDocument/2006/relationships/chart" Target="../charts/chart3.xml"/><Relationship Id="rId19" Type="http://schemas.openxmlformats.org/officeDocument/2006/relationships/tags" Target="../tags/tag2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tags" Target="../tags/tag56.xml"/><Relationship Id="rId56" Type="http://schemas.openxmlformats.org/officeDocument/2006/relationships/tags" Target="../tags/tag64.xml"/><Relationship Id="rId64" Type="http://schemas.openxmlformats.org/officeDocument/2006/relationships/tags" Target="../tags/tag72.xml"/><Relationship Id="rId69" Type="http://schemas.openxmlformats.org/officeDocument/2006/relationships/tags" Target="../tags/tag77.xml"/><Relationship Id="rId77" Type="http://schemas.openxmlformats.org/officeDocument/2006/relationships/tags" Target="../tags/tag85.xml"/><Relationship Id="rId100" Type="http://schemas.openxmlformats.org/officeDocument/2006/relationships/chart" Target="../charts/chart8.xml"/><Relationship Id="rId105" Type="http://schemas.openxmlformats.org/officeDocument/2006/relationships/chart" Target="../charts/chart13.xml"/><Relationship Id="rId8" Type="http://schemas.openxmlformats.org/officeDocument/2006/relationships/tags" Target="../tags/tag16.xml"/><Relationship Id="rId51" Type="http://schemas.openxmlformats.org/officeDocument/2006/relationships/tags" Target="../tags/tag59.xml"/><Relationship Id="rId72" Type="http://schemas.openxmlformats.org/officeDocument/2006/relationships/tags" Target="../tags/tag80.xml"/><Relationship Id="rId80" Type="http://schemas.openxmlformats.org/officeDocument/2006/relationships/tags" Target="../tags/tag88.xml"/><Relationship Id="rId85" Type="http://schemas.openxmlformats.org/officeDocument/2006/relationships/tags" Target="../tags/tag93.xml"/><Relationship Id="rId93" Type="http://schemas.openxmlformats.org/officeDocument/2006/relationships/slideLayout" Target="../slideLayouts/slideLayout5.xml"/><Relationship Id="rId98" Type="http://schemas.openxmlformats.org/officeDocument/2006/relationships/chart" Target="../charts/chart6.xml"/><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59" Type="http://schemas.openxmlformats.org/officeDocument/2006/relationships/tags" Target="../tags/tag67.xml"/><Relationship Id="rId67" Type="http://schemas.openxmlformats.org/officeDocument/2006/relationships/tags" Target="../tags/tag75.xml"/><Relationship Id="rId103" Type="http://schemas.openxmlformats.org/officeDocument/2006/relationships/chart" Target="../charts/chart11.xml"/><Relationship Id="rId108" Type="http://schemas.openxmlformats.org/officeDocument/2006/relationships/chart" Target="../charts/chart16.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tags" Target="../tags/tag62.xml"/><Relationship Id="rId62" Type="http://schemas.openxmlformats.org/officeDocument/2006/relationships/tags" Target="../tags/tag70.xml"/><Relationship Id="rId70" Type="http://schemas.openxmlformats.org/officeDocument/2006/relationships/tags" Target="../tags/tag78.xml"/><Relationship Id="rId75" Type="http://schemas.openxmlformats.org/officeDocument/2006/relationships/tags" Target="../tags/tag83.xml"/><Relationship Id="rId83" Type="http://schemas.openxmlformats.org/officeDocument/2006/relationships/tags" Target="../tags/tag91.xml"/><Relationship Id="rId88" Type="http://schemas.openxmlformats.org/officeDocument/2006/relationships/tags" Target="../tags/tag96.xml"/><Relationship Id="rId91" Type="http://schemas.openxmlformats.org/officeDocument/2006/relationships/tags" Target="../tags/tag99.xml"/><Relationship Id="rId96" Type="http://schemas.openxmlformats.org/officeDocument/2006/relationships/chart" Target="../charts/chart4.xml"/><Relationship Id="rId1" Type="http://schemas.openxmlformats.org/officeDocument/2006/relationships/tags" Target="../tags/tag9.x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tags" Target="../tags/tag57.xml"/><Relationship Id="rId57" Type="http://schemas.openxmlformats.org/officeDocument/2006/relationships/tags" Target="../tags/tag65.xml"/><Relationship Id="rId106" Type="http://schemas.openxmlformats.org/officeDocument/2006/relationships/chart" Target="../charts/chart14.xml"/><Relationship Id="rId10" Type="http://schemas.openxmlformats.org/officeDocument/2006/relationships/tags" Target="../tags/tag18.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tags" Target="../tags/tag60.xml"/><Relationship Id="rId60" Type="http://schemas.openxmlformats.org/officeDocument/2006/relationships/tags" Target="../tags/tag68.xml"/><Relationship Id="rId65" Type="http://schemas.openxmlformats.org/officeDocument/2006/relationships/tags" Target="../tags/tag73.xml"/><Relationship Id="rId73" Type="http://schemas.openxmlformats.org/officeDocument/2006/relationships/tags" Target="../tags/tag81.xml"/><Relationship Id="rId78" Type="http://schemas.openxmlformats.org/officeDocument/2006/relationships/tags" Target="../tags/tag86.xml"/><Relationship Id="rId81" Type="http://schemas.openxmlformats.org/officeDocument/2006/relationships/tags" Target="../tags/tag89.xml"/><Relationship Id="rId86" Type="http://schemas.openxmlformats.org/officeDocument/2006/relationships/tags" Target="../tags/tag94.xml"/><Relationship Id="rId94" Type="http://schemas.openxmlformats.org/officeDocument/2006/relationships/chart" Target="../charts/chart2.xml"/><Relationship Id="rId99" Type="http://schemas.openxmlformats.org/officeDocument/2006/relationships/chart" Target="../charts/chart7.xml"/><Relationship Id="rId101" Type="http://schemas.openxmlformats.org/officeDocument/2006/relationships/chart" Target="../charts/chart9.xml"/><Relationship Id="rId4" Type="http://schemas.openxmlformats.org/officeDocument/2006/relationships/tags" Target="../tags/tag12.xml"/><Relationship Id="rId9" Type="http://schemas.openxmlformats.org/officeDocument/2006/relationships/tags" Target="../tags/tag17.xml"/><Relationship Id="rId13" Type="http://schemas.openxmlformats.org/officeDocument/2006/relationships/tags" Target="../tags/tag21.xml"/><Relationship Id="rId18" Type="http://schemas.openxmlformats.org/officeDocument/2006/relationships/tags" Target="../tags/tag26.xml"/><Relationship Id="rId39" Type="http://schemas.openxmlformats.org/officeDocument/2006/relationships/tags" Target="../tags/tag47.xml"/><Relationship Id="rId34" Type="http://schemas.openxmlformats.org/officeDocument/2006/relationships/tags" Target="../tags/tag42.xml"/><Relationship Id="rId50" Type="http://schemas.openxmlformats.org/officeDocument/2006/relationships/tags" Target="../tags/tag58.xml"/><Relationship Id="rId55" Type="http://schemas.openxmlformats.org/officeDocument/2006/relationships/tags" Target="../tags/tag63.xml"/><Relationship Id="rId76" Type="http://schemas.openxmlformats.org/officeDocument/2006/relationships/tags" Target="../tags/tag84.xml"/><Relationship Id="rId97" Type="http://schemas.openxmlformats.org/officeDocument/2006/relationships/chart" Target="../charts/chart5.xml"/><Relationship Id="rId104" Type="http://schemas.openxmlformats.org/officeDocument/2006/relationships/chart" Target="../charts/chart12.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2.png"/><Relationship Id="rId7" Type="http://schemas.openxmlformats.org/officeDocument/2006/relationships/diagramColors" Target="../diagrams/colors1.xml"/><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1"/>
          <p:cNvSpPr txBox="1">
            <a:spLocks/>
          </p:cNvSpPr>
          <p:nvPr/>
        </p:nvSpPr>
        <p:spPr bwMode="auto">
          <a:xfrm>
            <a:off x="5099250" y="4014065"/>
            <a:ext cx="3305250" cy="526500"/>
          </a:xfrm>
          <a:prstGeom prst="rect">
            <a:avLst/>
          </a:prstGeom>
          <a:noFill/>
          <a:ln w="9525">
            <a:noFill/>
            <a:miter lim="800000"/>
            <a:headEnd/>
            <a:tailEnd/>
          </a:ln>
        </p:spPr>
        <p:txBody>
          <a:bodyPr vert="horz" wrap="square" lIns="74295" tIns="37148" rIns="74295" bIns="37148" numCol="1" anchor="t" anchorCtr="0" compatLnSpc="1">
            <a:prstTxWarp prst="textNoShape">
              <a:avLst/>
            </a:prstTxWarp>
            <a:noAutofit/>
          </a:bodyPr>
          <a:lstStyle>
            <a:lvl1pPr algn="l" rtl="0" eaLnBrk="0" fontAlgn="base" hangingPunct="0">
              <a:lnSpc>
                <a:spcPct val="100000"/>
              </a:lnSpc>
              <a:spcBef>
                <a:spcPct val="0"/>
              </a:spcBef>
              <a:spcAft>
                <a:spcPct val="0"/>
              </a:spcAft>
              <a:defRPr sz="1100" kern="1200" baseline="0">
                <a:solidFill>
                  <a:schemeClr val="tx1"/>
                </a:solidFill>
                <a:latin typeface="+mj-lt"/>
                <a:ea typeface="Verdana" pitchFamily="34" charset="0"/>
                <a:cs typeface="Verdana" pitchFamily="34" charset="0"/>
              </a:defRPr>
            </a:lvl1pPr>
            <a:lvl2pPr algn="ctr" rtl="0" eaLnBrk="0" fontAlgn="base" hangingPunct="0">
              <a:spcBef>
                <a:spcPct val="0"/>
              </a:spcBef>
              <a:spcAft>
                <a:spcPct val="0"/>
              </a:spcAft>
              <a:defRPr sz="4400">
                <a:solidFill>
                  <a:schemeClr val="tx1"/>
                </a:solidFill>
                <a:latin typeface="Tahoma" pitchFamily="34" charset="0"/>
              </a:defRPr>
            </a:lvl2pPr>
            <a:lvl3pPr algn="ctr" rtl="0" eaLnBrk="0" fontAlgn="base" hangingPunct="0">
              <a:spcBef>
                <a:spcPct val="0"/>
              </a:spcBef>
              <a:spcAft>
                <a:spcPct val="0"/>
              </a:spcAft>
              <a:defRPr sz="4400">
                <a:solidFill>
                  <a:schemeClr val="tx1"/>
                </a:solidFill>
                <a:latin typeface="Tahoma" pitchFamily="34" charset="0"/>
              </a:defRPr>
            </a:lvl3pPr>
            <a:lvl4pPr algn="ctr" rtl="0" eaLnBrk="0" fontAlgn="base" hangingPunct="0">
              <a:spcBef>
                <a:spcPct val="0"/>
              </a:spcBef>
              <a:spcAft>
                <a:spcPct val="0"/>
              </a:spcAft>
              <a:defRPr sz="4400">
                <a:solidFill>
                  <a:schemeClr val="tx1"/>
                </a:solidFill>
                <a:latin typeface="Tahoma" pitchFamily="34" charset="0"/>
              </a:defRPr>
            </a:lvl4pPr>
            <a:lvl5pPr algn="ctr" rtl="0" eaLnBrk="0" fontAlgn="base" hangingPunct="0">
              <a:spcBef>
                <a:spcPct val="0"/>
              </a:spcBef>
              <a:spcAft>
                <a:spcPct val="0"/>
              </a:spcAft>
              <a:defRPr sz="4400">
                <a:solidFill>
                  <a:schemeClr val="tx1"/>
                </a:solidFill>
                <a:latin typeface="Tahoma" pitchFamily="34" charset="0"/>
              </a:defRPr>
            </a:lvl5pPr>
            <a:lvl6pPr marL="457200" algn="ctr" rtl="0" fontAlgn="base">
              <a:spcBef>
                <a:spcPct val="0"/>
              </a:spcBef>
              <a:spcAft>
                <a:spcPct val="0"/>
              </a:spcAft>
              <a:defRPr sz="4400">
                <a:solidFill>
                  <a:schemeClr val="tx1"/>
                </a:solidFill>
                <a:latin typeface="Tahoma" pitchFamily="34" charset="0"/>
              </a:defRPr>
            </a:lvl6pPr>
            <a:lvl7pPr marL="914400" algn="ctr" rtl="0" fontAlgn="base">
              <a:spcBef>
                <a:spcPct val="0"/>
              </a:spcBef>
              <a:spcAft>
                <a:spcPct val="0"/>
              </a:spcAft>
              <a:defRPr sz="4400">
                <a:solidFill>
                  <a:schemeClr val="tx1"/>
                </a:solidFill>
                <a:latin typeface="Tahoma" pitchFamily="34" charset="0"/>
              </a:defRPr>
            </a:lvl7pPr>
            <a:lvl8pPr marL="1371600" algn="ctr" rtl="0" fontAlgn="base">
              <a:spcBef>
                <a:spcPct val="0"/>
              </a:spcBef>
              <a:spcAft>
                <a:spcPct val="0"/>
              </a:spcAft>
              <a:defRPr sz="4400">
                <a:solidFill>
                  <a:schemeClr val="tx1"/>
                </a:solidFill>
                <a:latin typeface="Tahoma" pitchFamily="34" charset="0"/>
              </a:defRPr>
            </a:lvl8pPr>
            <a:lvl9pPr marL="1828800" algn="ctr" rtl="0" fontAlgn="base">
              <a:spcBef>
                <a:spcPct val="0"/>
              </a:spcBef>
              <a:spcAft>
                <a:spcPct val="0"/>
              </a:spcAft>
              <a:defRPr sz="4400">
                <a:solidFill>
                  <a:schemeClr val="tx1"/>
                </a:solidFill>
                <a:latin typeface="Tahoma" pitchFamily="34" charset="0"/>
              </a:defRPr>
            </a:lvl9pPr>
          </a:lstStyle>
          <a:p>
            <a:endParaRPr lang="ru-RU" sz="894" dirty="0">
              <a:solidFill>
                <a:srgbClr val="000000"/>
              </a:solidFill>
            </a:endParaRPr>
          </a:p>
        </p:txBody>
      </p:sp>
      <p:sp>
        <p:nvSpPr>
          <p:cNvPr id="9" name="Текст 3"/>
          <p:cNvSpPr>
            <a:spLocks noGrp="1"/>
          </p:cNvSpPr>
          <p:nvPr>
            <p:ph type="body" sz="half" idx="2"/>
          </p:nvPr>
        </p:nvSpPr>
        <p:spPr>
          <a:xfrm>
            <a:off x="5251454" y="3062377"/>
            <a:ext cx="4039194" cy="3467819"/>
          </a:xfrm>
          <a:prstGeom prst="rect">
            <a:avLst/>
          </a:prstGeom>
        </p:spPr>
        <p:txBody>
          <a:bodyPr>
            <a:normAutofit fontScale="40000" lnSpcReduction="20000"/>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ru-RU" sz="2800" dirty="0"/>
              <a:t>11 декабря 2018г.</a:t>
            </a:r>
          </a:p>
          <a:p>
            <a:endParaRPr lang="ru-RU" dirty="0"/>
          </a:p>
          <a:p>
            <a:pPr>
              <a:lnSpc>
                <a:spcPct val="140000"/>
              </a:lnSpc>
            </a:pPr>
            <a:endParaRPr lang="en-US" sz="2500" dirty="0" smtClean="0"/>
          </a:p>
          <a:p>
            <a:pPr>
              <a:lnSpc>
                <a:spcPct val="140000"/>
              </a:lnSpc>
            </a:pPr>
            <a:endParaRPr lang="en-US" sz="2500" dirty="0" smtClean="0"/>
          </a:p>
          <a:p>
            <a:pPr>
              <a:lnSpc>
                <a:spcPct val="140000"/>
              </a:lnSpc>
            </a:pPr>
            <a:r>
              <a:rPr lang="ru-RU" sz="5000" b="1" dirty="0" smtClean="0"/>
              <a:t>ФОНДОВЫЕ </a:t>
            </a:r>
            <a:r>
              <a:rPr lang="ru-RU" sz="5000" b="1" dirty="0"/>
              <a:t>ИНДЕКСЫ </a:t>
            </a:r>
            <a:br>
              <a:rPr lang="ru-RU" sz="5000" b="1" dirty="0"/>
            </a:br>
            <a:r>
              <a:rPr lang="ru-RU" sz="5000" b="1" dirty="0"/>
              <a:t>УСТОЙЧИВОГО РАЗВИТИЯ</a:t>
            </a:r>
          </a:p>
          <a:p>
            <a:pPr>
              <a:lnSpc>
                <a:spcPct val="170000"/>
              </a:lnSpc>
            </a:pPr>
            <a:endParaRPr lang="en-US" sz="2400" dirty="0" smtClean="0"/>
          </a:p>
          <a:p>
            <a:pPr>
              <a:lnSpc>
                <a:spcPct val="140000"/>
              </a:lnSpc>
            </a:pPr>
            <a:r>
              <a:rPr lang="ru-RU" sz="2800" dirty="0" smtClean="0"/>
              <a:t>Расширенное </a:t>
            </a:r>
            <a:r>
              <a:rPr lang="ru-RU" sz="2800" dirty="0"/>
              <a:t>заседание Комитета РСПП </a:t>
            </a:r>
            <a:br>
              <a:rPr lang="ru-RU" sz="2800" dirty="0"/>
            </a:br>
            <a:r>
              <a:rPr lang="ru-RU" sz="2800" dirty="0"/>
              <a:t>по корпоративной социальной ответственности и демографической политике</a:t>
            </a:r>
          </a:p>
          <a:p>
            <a:pPr>
              <a:lnSpc>
                <a:spcPct val="170000"/>
              </a:lnSpc>
            </a:pPr>
            <a:endParaRPr lang="ru-RU" sz="2500" dirty="0" smtClean="0"/>
          </a:p>
          <a:p>
            <a:pPr>
              <a:lnSpc>
                <a:spcPct val="140000"/>
              </a:lnSpc>
            </a:pPr>
            <a:r>
              <a:rPr lang="ru-RU" sz="2800" dirty="0" smtClean="0"/>
              <a:t>Анна </a:t>
            </a:r>
            <a:r>
              <a:rPr lang="ru-RU" sz="2800" dirty="0" smtClean="0"/>
              <a:t>Кузнецова,</a:t>
            </a:r>
          </a:p>
          <a:p>
            <a:pPr>
              <a:lnSpc>
                <a:spcPct val="140000"/>
              </a:lnSpc>
            </a:pPr>
            <a:r>
              <a:rPr lang="ru-RU" sz="2800" dirty="0" smtClean="0"/>
              <a:t>Управляющий директор по фондовому рынку </a:t>
            </a:r>
            <a:r>
              <a:rPr lang="en-US" sz="2800" dirty="0" smtClean="0"/>
              <a:t/>
            </a:r>
            <a:br>
              <a:rPr lang="en-US" sz="2800" dirty="0" smtClean="0"/>
            </a:br>
            <a:r>
              <a:rPr lang="ru-RU" sz="2800" dirty="0" smtClean="0"/>
              <a:t>Московской Биржи</a:t>
            </a:r>
            <a:endParaRPr lang="ru-RU" sz="2800" dirty="0"/>
          </a:p>
        </p:txBody>
      </p:sp>
      <p:sp>
        <p:nvSpPr>
          <p:cNvPr id="2" name="Rectangle 2"/>
          <p:cNvSpPr>
            <a:spLocks noChangeArrowheads="1"/>
          </p:cNvSpPr>
          <p:nvPr/>
        </p:nvSpPr>
        <p:spPr bwMode="auto">
          <a:xfrm>
            <a:off x="-186266" y="0"/>
            <a:ext cx="9906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Tree>
    <p:extLst>
      <p:ext uri="{BB962C8B-B14F-4D97-AF65-F5344CB8AC3E}">
        <p14:creationId xmlns:p14="http://schemas.microsoft.com/office/powerpoint/2010/main" val="29800132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txBox="1">
            <a:spLocks/>
          </p:cNvSpPr>
          <p:nvPr/>
        </p:nvSpPr>
        <p:spPr>
          <a:xfrm>
            <a:off x="1152000" y="576000"/>
            <a:ext cx="7416000" cy="1123200"/>
          </a:xfrm>
          <a:prstGeom prst="rect">
            <a:avLst/>
          </a:prstGeom>
        </p:spPr>
        <p:txBody>
          <a:bodyPr vert="horz" lIns="91440" tIns="45720" rIns="91440" bIns="45720" rtlCol="0" anchor="t" anchorCtr="0">
            <a:noAutofit/>
          </a:bodyPr>
          <a:lstStyle>
            <a:lvl1pPr algn="l" defTabSz="742931" rtl="0" eaLnBrk="1" latinLnBrk="0" hangingPunct="1">
              <a:spcBef>
                <a:spcPct val="0"/>
              </a:spcBef>
              <a:buNone/>
              <a:defRPr sz="1600" b="1" kern="1200" baseline="0">
                <a:solidFill>
                  <a:schemeClr val="tx1"/>
                </a:solidFill>
                <a:latin typeface="+mj-lt"/>
                <a:ea typeface="Verdana" pitchFamily="34" charset="0"/>
                <a:cs typeface="Verdana" pitchFamily="34" charset="0"/>
              </a:defRPr>
            </a:lvl1pPr>
          </a:lstStyle>
          <a:p>
            <a:endParaRPr lang="ru-RU" sz="2400" dirty="0">
              <a:latin typeface="Tahoma" pitchFamily="34" charset="0"/>
              <a:ea typeface="Tahoma" pitchFamily="34" charset="0"/>
              <a:cs typeface="Tahoma" pitchFamily="34" charset="0"/>
            </a:endParaRPr>
          </a:p>
        </p:txBody>
      </p:sp>
      <p:sp>
        <p:nvSpPr>
          <p:cNvPr id="6" name="Прямоугольник 5"/>
          <p:cNvSpPr/>
          <p:nvPr/>
        </p:nvSpPr>
        <p:spPr>
          <a:xfrm>
            <a:off x="1252537" y="1196834"/>
            <a:ext cx="7517956" cy="4678204"/>
          </a:xfrm>
          <a:prstGeom prst="rect">
            <a:avLst/>
          </a:prstGeom>
        </p:spPr>
        <p:txBody>
          <a:bodyPr wrap="square">
            <a:spAutoFit/>
          </a:bodyPr>
          <a:lstStyle/>
          <a:p>
            <a:pPr indent="324000" algn="just" fontAlgn="base">
              <a:spcBef>
                <a:spcPct val="0"/>
              </a:spcBef>
              <a:spcAft>
                <a:spcPct val="0"/>
              </a:spcAft>
              <a:defRPr/>
            </a:pPr>
            <a:r>
              <a:rPr lang="ru-RU" sz="800" dirty="0">
                <a:solidFill>
                  <a:srgbClr val="000000"/>
                </a:solidFill>
                <a:ea typeface="Tahoma" pitchFamily="34" charset="0"/>
                <a:cs typeface="Tahoma" pitchFamily="34" charset="0"/>
              </a:rPr>
              <a:t>Настоящая презентация была подготовлена и выпущена </a:t>
            </a:r>
            <a:r>
              <a:rPr lang="ru-RU" sz="800" dirty="0" smtClean="0">
                <a:solidFill>
                  <a:srgbClr val="000000"/>
                </a:solidFill>
                <a:ea typeface="Tahoma" pitchFamily="34" charset="0"/>
                <a:cs typeface="Tahoma" pitchFamily="34" charset="0"/>
              </a:rPr>
              <a:t>Публичным </a:t>
            </a:r>
            <a:r>
              <a:rPr lang="ru-RU" sz="800" dirty="0">
                <a:solidFill>
                  <a:srgbClr val="000000"/>
                </a:solidFill>
                <a:ea typeface="Tahoma" pitchFamily="34" charset="0"/>
                <a:cs typeface="Tahoma" pitchFamily="34" charset="0"/>
              </a:rPr>
              <a:t>акционерным обществом «Московская Биржа ММВБ-РТС»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p>
          <a:p>
            <a:pPr indent="324000" algn="just" fontAlgn="base">
              <a:spcBef>
                <a:spcPct val="0"/>
              </a:spcBef>
              <a:spcAft>
                <a:spcPct val="0"/>
              </a:spcAft>
              <a:defRPr/>
            </a:pPr>
            <a:r>
              <a:rPr lang="ru-RU" sz="800" dirty="0">
                <a:solidFill>
                  <a:srgbClr val="000000"/>
                </a:solidFill>
                <a:ea typeface="Tahoma" pitchFamily="34" charset="0"/>
                <a:cs typeface="Tahoma" pitchFamily="34" charset="0"/>
              </a:rPr>
              <a:t>Данный 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indent="324000" algn="just" fontAlgn="base">
              <a:spcBef>
                <a:spcPct val="0"/>
              </a:spcBef>
              <a:spcAft>
                <a:spcPct val="0"/>
              </a:spcAft>
              <a:defRPr/>
            </a:pPr>
            <a:r>
              <a:rPr lang="ru-RU" sz="800" dirty="0">
                <a:solidFill>
                  <a:srgbClr val="000000"/>
                </a:solidFill>
                <a:ea typeface="Tahoma" pitchFamily="34" charset="0"/>
                <a:cs typeface="Tahoma"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дочерних обществ или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indent="324000" algn="just" fontAlgn="base">
              <a:spcBef>
                <a:spcPct val="0"/>
              </a:spcBef>
              <a:spcAft>
                <a:spcPct val="0"/>
              </a:spcAft>
              <a:defRPr/>
            </a:pPr>
            <a:r>
              <a:rPr lang="ru-RU" sz="800" dirty="0">
                <a:solidFill>
                  <a:srgbClr val="000000"/>
                </a:solidFill>
                <a:ea typeface="Tahoma" pitchFamily="34" charset="0"/>
                <a:cs typeface="Tahoma"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восприятие рыночных услуг, предоставляемых Компанией и ее дочерними обществами;</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волатильность (а) Российской экономики и рынка ценных бумаг и (</a:t>
            </a:r>
            <a:r>
              <a:rPr lang="en-US" sz="800" dirty="0">
                <a:solidFill>
                  <a:srgbClr val="000000"/>
                </a:solidFill>
                <a:ea typeface="Tahoma" pitchFamily="34" charset="0"/>
                <a:cs typeface="Tahoma" pitchFamily="34" charset="0"/>
              </a:rPr>
              <a:t>b</a:t>
            </a:r>
            <a:r>
              <a:rPr lang="ru-RU" sz="800" dirty="0">
                <a:solidFill>
                  <a:srgbClr val="000000"/>
                </a:solidFill>
                <a:ea typeface="Tahoma" pitchFamily="34" charset="0"/>
                <a:cs typeface="Tahoma" pitchFamily="34" charset="0"/>
              </a:rPr>
              <a:t>) секторов с высоким уровнем конкуренции, в которых Компания и ее дочерние общества осуществляют свою деятельность;</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изменения в (</a:t>
            </a:r>
            <a:r>
              <a:rPr lang="en-US" sz="800" dirty="0">
                <a:solidFill>
                  <a:srgbClr val="000000"/>
                </a:solidFill>
                <a:ea typeface="Tahoma" pitchFamily="34" charset="0"/>
                <a:cs typeface="Tahoma" pitchFamily="34" charset="0"/>
              </a:rPr>
              <a:t>a</a:t>
            </a:r>
            <a:r>
              <a:rPr lang="ru-RU" sz="800" dirty="0">
                <a:solidFill>
                  <a:srgbClr val="000000"/>
                </a:solidFill>
                <a:ea typeface="Tahoma" pitchFamily="34" charset="0"/>
                <a:cs typeface="Tahoma" pitchFamily="34" charset="0"/>
              </a:rPr>
              <a:t>) отечественном и международном законодательстве и налоговом регулировании и (</a:t>
            </a:r>
            <a:r>
              <a:rPr lang="en-US" sz="800" dirty="0">
                <a:solidFill>
                  <a:srgbClr val="000000"/>
                </a:solidFill>
                <a:ea typeface="Tahoma" pitchFamily="34" charset="0"/>
                <a:cs typeface="Tahoma" pitchFamily="34" charset="0"/>
              </a:rPr>
              <a:t>b</a:t>
            </a:r>
            <a:r>
              <a:rPr lang="ru-RU" sz="800" dirty="0">
                <a:solidFill>
                  <a:srgbClr val="000000"/>
                </a:solidFill>
                <a:ea typeface="Tahoma" pitchFamily="34" charset="0"/>
                <a:cs typeface="Tahoma" pitchFamily="34" charset="0"/>
              </a:rPr>
              <a:t>) государственных программах, относящихся к финансовым рынкам и рынкам ценных бумаг;</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ростом уровня конкуренции со стороны новых игроков на рынке России;</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 и ее дочерних обществ;</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привлекать новых клиентов на отечественный рынок и в зарубежных юрисдикциях;</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способность увеличивать предложение продукции в зарубежных юрисдикциях.</a:t>
            </a:r>
          </a:p>
          <a:p>
            <a:pPr marL="171450" indent="190500" algn="just" fontAlgn="base">
              <a:spcBef>
                <a:spcPct val="0"/>
              </a:spcBef>
              <a:spcAft>
                <a:spcPct val="0"/>
              </a:spcAft>
              <a:buFont typeface="Arial" panose="020B0604020202020204" pitchFamily="34" charset="0"/>
              <a:buChar char="•"/>
              <a:defRPr/>
            </a:pPr>
            <a:r>
              <a:rPr lang="ru-RU" sz="800" dirty="0">
                <a:solidFill>
                  <a:srgbClr val="000000"/>
                </a:solidFill>
                <a:ea typeface="Tahoma" pitchFamily="34" charset="0"/>
                <a:cs typeface="Tahoma"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a:t>
            </a:r>
            <a:endParaRPr lang="ru-RU" sz="800" dirty="0">
              <a:solidFill>
                <a:srgbClr val="000000"/>
              </a:solidFill>
              <a:latin typeface="Arial" charset="0"/>
              <a:ea typeface="ＭＳ Ｐゴシック" charset="0"/>
            </a:endParaRPr>
          </a:p>
          <a:p>
            <a:pPr fontAlgn="base">
              <a:spcBef>
                <a:spcPct val="0"/>
              </a:spcBef>
              <a:spcAft>
                <a:spcPct val="0"/>
              </a:spcAft>
            </a:pPr>
            <a:endParaRPr lang="ru-RU" sz="1000" dirty="0">
              <a:solidFill>
                <a:srgbClr val="000000"/>
              </a:solidFill>
              <a:latin typeface="Arial" charset="0"/>
              <a:ea typeface="ＭＳ Ｐゴシック" charset="0"/>
            </a:endParaRPr>
          </a:p>
        </p:txBody>
      </p:sp>
      <p:sp>
        <p:nvSpPr>
          <p:cNvPr id="7" name="Заголовок 1"/>
          <p:cNvSpPr>
            <a:spLocks noGrp="1"/>
          </p:cNvSpPr>
          <p:nvPr>
            <p:ph type="title"/>
          </p:nvPr>
        </p:nvSpPr>
        <p:spPr>
          <a:xfrm>
            <a:off x="1252537" y="350969"/>
            <a:ext cx="8233643" cy="404728"/>
          </a:xfrm>
        </p:spPr>
        <p:txBody>
          <a:bodyPr/>
          <a:lstStyle/>
          <a:p>
            <a:r>
              <a:rPr lang="ru-RU" sz="1800" dirty="0">
                <a:latin typeface="Tahoma" pitchFamily="34" charset="0"/>
                <a:ea typeface="Tahoma" pitchFamily="34" charset="0"/>
                <a:cs typeface="Tahoma" pitchFamily="34" charset="0"/>
              </a:rPr>
              <a:t>РАСКРЫТИЕ ИНФОРМАЦИИ</a:t>
            </a:r>
          </a:p>
        </p:txBody>
      </p:sp>
    </p:spTree>
    <p:extLst>
      <p:ext uri="{BB962C8B-B14F-4D97-AF65-F5344CB8AC3E}">
        <p14:creationId xmlns:p14="http://schemas.microsoft.com/office/powerpoint/2010/main" val="2305071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278283593"/>
              </p:ext>
            </p:extLst>
          </p:nvPr>
        </p:nvGraphicFramePr>
        <p:xfrm>
          <a:off x="1186271" y="1506771"/>
          <a:ext cx="4176002" cy="4641471"/>
        </p:xfrm>
        <a:graphic>
          <a:graphicData uri="http://schemas.openxmlformats.org/drawingml/2006/table">
            <a:tbl>
              <a:tblPr firstRow="1">
                <a:tableStyleId>{0505E3EF-67EA-436B-97B2-0124C06EBD24}</a:tableStyleId>
              </a:tblPr>
              <a:tblGrid>
                <a:gridCol w="1772589">
                  <a:extLst>
                    <a:ext uri="{9D8B030D-6E8A-4147-A177-3AD203B41FA5}">
                      <a16:colId xmlns:a16="http://schemas.microsoft.com/office/drawing/2014/main" val="20000"/>
                    </a:ext>
                  </a:extLst>
                </a:gridCol>
                <a:gridCol w="747768">
                  <a:extLst>
                    <a:ext uri="{9D8B030D-6E8A-4147-A177-3AD203B41FA5}">
                      <a16:colId xmlns:a16="http://schemas.microsoft.com/office/drawing/2014/main" val="20001"/>
                    </a:ext>
                  </a:extLst>
                </a:gridCol>
                <a:gridCol w="389564">
                  <a:extLst>
                    <a:ext uri="{9D8B030D-6E8A-4147-A177-3AD203B41FA5}">
                      <a16:colId xmlns:a16="http://schemas.microsoft.com/office/drawing/2014/main" val="20002"/>
                    </a:ext>
                  </a:extLst>
                </a:gridCol>
                <a:gridCol w="812238">
                  <a:extLst>
                    <a:ext uri="{9D8B030D-6E8A-4147-A177-3AD203B41FA5}">
                      <a16:colId xmlns:a16="http://schemas.microsoft.com/office/drawing/2014/main" val="20003"/>
                    </a:ext>
                  </a:extLst>
                </a:gridCol>
                <a:gridCol w="453843">
                  <a:extLst>
                    <a:ext uri="{9D8B030D-6E8A-4147-A177-3AD203B41FA5}">
                      <a16:colId xmlns:a16="http://schemas.microsoft.com/office/drawing/2014/main" val="20004"/>
                    </a:ext>
                  </a:extLst>
                </a:gridCol>
              </a:tblGrid>
              <a:tr h="167628">
                <a:tc rowSpan="2">
                  <a:txBody>
                    <a:bodyPr/>
                    <a:lstStyle/>
                    <a:p>
                      <a:pPr algn="ctr" fontAlgn="ctr"/>
                      <a:r>
                        <a:rPr lang="ru-RU" sz="900" u="none" strike="noStrike" dirty="0">
                          <a:effectLst/>
                        </a:rPr>
                        <a:t>Биржа</a:t>
                      </a:r>
                      <a:endParaRPr lang="ru-RU" sz="900" b="1" i="0" u="none" strike="noStrike" dirty="0">
                        <a:solidFill>
                          <a:srgbClr val="FFFFFF"/>
                        </a:solidFill>
                        <a:effectLst/>
                        <a:latin typeface="Tahoma" panose="020B0604030504040204" pitchFamily="34" charset="0"/>
                      </a:endParaRPr>
                    </a:p>
                  </a:txBody>
                  <a:tcPr marL="8823" marR="8823" marT="8823" marB="0" anchor="ctr"/>
                </a:tc>
                <a:tc gridSpan="2">
                  <a:txBody>
                    <a:bodyPr/>
                    <a:lstStyle/>
                    <a:p>
                      <a:pPr algn="ctr" fontAlgn="ctr"/>
                      <a:r>
                        <a:rPr lang="ru-RU" sz="900" u="none" strike="noStrike" dirty="0" smtClean="0">
                          <a:effectLst/>
                        </a:rPr>
                        <a:t>Раскрытие </a:t>
                      </a:r>
                      <a:r>
                        <a:rPr lang="en-US" sz="900" u="none" strike="noStrike" dirty="0" smtClean="0">
                          <a:effectLst/>
                        </a:rPr>
                        <a:t>ESG</a:t>
                      </a:r>
                      <a:endParaRPr lang="ru-RU" sz="900" b="1" i="0" u="none" strike="noStrike" dirty="0">
                        <a:solidFill>
                          <a:srgbClr val="FFFFFF"/>
                        </a:solidFill>
                        <a:effectLst/>
                        <a:latin typeface="Tahoma" panose="020B0604030504040204" pitchFamily="34" charset="0"/>
                      </a:endParaRPr>
                    </a:p>
                  </a:txBody>
                  <a:tcPr marL="8823" marR="8823" marT="8823" marB="0" anchor="ctr"/>
                </a:tc>
                <a:tc hMerge="1">
                  <a:txBody>
                    <a:bodyPr/>
                    <a:lstStyle/>
                    <a:p>
                      <a:endParaRPr lang="ru-RU"/>
                    </a:p>
                  </a:txBody>
                  <a:tcPr/>
                </a:tc>
                <a:tc gridSpan="2">
                  <a:txBody>
                    <a:bodyPr/>
                    <a:lstStyle/>
                    <a:p>
                      <a:pPr algn="ctr" fontAlgn="ctr"/>
                      <a:r>
                        <a:rPr lang="ru-RU" sz="900" u="none" strike="noStrike" dirty="0" smtClean="0">
                          <a:effectLst/>
                        </a:rPr>
                        <a:t>Изменение</a:t>
                      </a:r>
                      <a:endParaRPr lang="ru-RU" sz="900" b="1" i="0" u="none" strike="noStrike" dirty="0">
                        <a:solidFill>
                          <a:srgbClr val="FFFFFF"/>
                        </a:solidFill>
                        <a:effectLst/>
                        <a:latin typeface="Tahoma" panose="020B0604030504040204" pitchFamily="34" charset="0"/>
                      </a:endParaRPr>
                    </a:p>
                  </a:txBody>
                  <a:tcPr marL="8823" marR="8823" marT="8823" marB="0" anchor="ctr"/>
                </a:tc>
                <a:tc hMerge="1">
                  <a:txBody>
                    <a:bodyPr/>
                    <a:lstStyle/>
                    <a:p>
                      <a:endParaRPr lang="ru-RU"/>
                    </a:p>
                  </a:txBody>
                  <a:tcPr/>
                </a:tc>
                <a:extLst>
                  <a:ext uri="{0D108BD9-81ED-4DB2-BD59-A6C34878D82A}">
                    <a16:rowId xmlns:a16="http://schemas.microsoft.com/office/drawing/2014/main" val="10000"/>
                  </a:ext>
                </a:extLst>
              </a:tr>
              <a:tr h="167628">
                <a:tc vMerge="1">
                  <a:txBody>
                    <a:bodyPr/>
                    <a:lstStyle/>
                    <a:p>
                      <a:endParaRPr lang="ru-RU"/>
                    </a:p>
                  </a:txBody>
                  <a:tcPr/>
                </a:tc>
                <a:tc>
                  <a:txBody>
                    <a:bodyPr/>
                    <a:lstStyle/>
                    <a:p>
                      <a:pPr algn="ctr" fontAlgn="ctr"/>
                      <a:r>
                        <a:rPr lang="ru-RU" sz="900" b="1" u="none" strike="noStrike" dirty="0" smtClean="0">
                          <a:effectLst/>
                        </a:rPr>
                        <a:t>Доля эмитентов</a:t>
                      </a:r>
                      <a:endParaRPr lang="ru-RU" sz="900" b="1" i="0" u="none" strike="noStrike" dirty="0">
                        <a:solidFill>
                          <a:srgbClr val="FFFFFF"/>
                        </a:solidFill>
                        <a:effectLst/>
                        <a:latin typeface="Tahoma" panose="020B0604030504040204" pitchFamily="34" charset="0"/>
                      </a:endParaRPr>
                    </a:p>
                  </a:txBody>
                  <a:tcPr marL="8823" marR="8823" marT="8823" marB="0" anchor="ctr"/>
                </a:tc>
                <a:tc>
                  <a:txBody>
                    <a:bodyPr/>
                    <a:lstStyle/>
                    <a:p>
                      <a:pPr algn="ctr" fontAlgn="ctr"/>
                      <a:r>
                        <a:rPr lang="ru-RU" sz="900" b="1" u="none" strike="noStrike" dirty="0" smtClean="0">
                          <a:effectLst/>
                        </a:rPr>
                        <a:t>№</a:t>
                      </a:r>
                      <a:endParaRPr lang="ru-RU" sz="900" b="1" i="0" u="none" strike="noStrike" dirty="0">
                        <a:solidFill>
                          <a:srgbClr val="FFFFFF"/>
                        </a:solidFill>
                        <a:effectLst/>
                        <a:latin typeface="Tahoma" panose="020B0604030504040204" pitchFamily="34" charset="0"/>
                      </a:endParaRPr>
                    </a:p>
                  </a:txBody>
                  <a:tcPr marL="8823" marR="8823" marT="8823" marB="0" anchor="ctr"/>
                </a:tc>
                <a:tc>
                  <a:txBody>
                    <a:bodyPr/>
                    <a:lstStyle/>
                    <a:p>
                      <a:pPr algn="ctr" fontAlgn="ctr"/>
                      <a:r>
                        <a:rPr lang="ru-RU" sz="900" b="1" u="none" strike="noStrike" dirty="0" smtClean="0">
                          <a:effectLst/>
                        </a:rPr>
                        <a:t>в % к </a:t>
                      </a:r>
                      <a:r>
                        <a:rPr lang="ru-RU" sz="900" b="1" u="none" strike="noStrike" dirty="0" err="1" smtClean="0">
                          <a:effectLst/>
                        </a:rPr>
                        <a:t>пред.году</a:t>
                      </a:r>
                      <a:endParaRPr lang="ru-RU" sz="900" b="1" i="0" u="none" strike="noStrike" dirty="0">
                        <a:solidFill>
                          <a:srgbClr val="FFFFFF"/>
                        </a:solidFill>
                        <a:effectLst/>
                        <a:latin typeface="Tahoma" panose="020B0604030504040204" pitchFamily="34" charset="0"/>
                      </a:endParaRPr>
                    </a:p>
                  </a:txBody>
                  <a:tcPr marL="8823" marR="8823" marT="8823" marB="0" anchor="ctr"/>
                </a:tc>
                <a:tc>
                  <a:txBody>
                    <a:bodyPr/>
                    <a:lstStyle/>
                    <a:p>
                      <a:pPr algn="ctr" fontAlgn="ctr"/>
                      <a:r>
                        <a:rPr lang="ru-RU" sz="900" b="1" u="none" strike="noStrike" dirty="0" smtClean="0">
                          <a:effectLst/>
                        </a:rPr>
                        <a:t>№</a:t>
                      </a:r>
                      <a:endParaRPr lang="ru-RU" sz="900" b="1" i="0" u="none" strike="noStrike" dirty="0">
                        <a:solidFill>
                          <a:srgbClr val="FFFFFF"/>
                        </a:solidFill>
                        <a:effectLst/>
                        <a:latin typeface="Tahoma" panose="020B0604030504040204" pitchFamily="34" charset="0"/>
                      </a:endParaRPr>
                    </a:p>
                  </a:txBody>
                  <a:tcPr marL="8823" marR="8823" marT="8823" marB="0" anchor="ctr"/>
                </a:tc>
                <a:extLst>
                  <a:ext uri="{0D108BD9-81ED-4DB2-BD59-A6C34878D82A}">
                    <a16:rowId xmlns:a16="http://schemas.microsoft.com/office/drawing/2014/main" val="10001"/>
                  </a:ext>
                </a:extLst>
              </a:tr>
              <a:tr h="167628">
                <a:tc>
                  <a:txBody>
                    <a:bodyPr/>
                    <a:lstStyle/>
                    <a:p>
                      <a:pPr marL="36000" algn="l" fontAlgn="b"/>
                      <a:r>
                        <a:rPr lang="en-US" sz="900" u="none" strike="noStrike" dirty="0">
                          <a:effectLst/>
                        </a:rPr>
                        <a:t>Nasdaq Helsinki</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96,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0,9%</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8</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2"/>
                  </a:ext>
                </a:extLst>
              </a:tr>
              <a:tr h="167628">
                <a:tc>
                  <a:txBody>
                    <a:bodyPr/>
                    <a:lstStyle/>
                    <a:p>
                      <a:pPr marL="36000" algn="l" fontAlgn="b"/>
                      <a:r>
                        <a:rPr lang="en-US" sz="900" u="none" strike="noStrike" dirty="0">
                          <a:effectLst/>
                        </a:rPr>
                        <a:t>Euronext Paris</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86,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29,9%</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8</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3"/>
                  </a:ext>
                </a:extLst>
              </a:tr>
              <a:tr h="167628">
                <a:tc>
                  <a:txBody>
                    <a:bodyPr/>
                    <a:lstStyle/>
                    <a:p>
                      <a:pPr marL="36000" algn="l" fontAlgn="b"/>
                      <a:r>
                        <a:rPr lang="en-US" sz="900" u="none" strike="noStrike">
                          <a:effectLst/>
                        </a:rPr>
                        <a:t>BME Spanish Stock Exchanges</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82,8%</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14,5%</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3</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4"/>
                  </a:ext>
                </a:extLst>
              </a:tr>
              <a:tr h="167628">
                <a:tc>
                  <a:txBody>
                    <a:bodyPr/>
                    <a:lstStyle/>
                    <a:p>
                      <a:pPr marL="36000" algn="l" fontAlgn="b"/>
                      <a:r>
                        <a:rPr lang="en-US" sz="900" u="none" strike="noStrike">
                          <a:effectLst/>
                        </a:rPr>
                        <a:t>Deutsche Börse</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77,3%</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4</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66,1%</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5</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5"/>
                  </a:ext>
                </a:extLst>
              </a:tr>
              <a:tr h="167628">
                <a:tc>
                  <a:txBody>
                    <a:bodyPr/>
                    <a:lstStyle/>
                    <a:p>
                      <a:pPr marL="36000" algn="l" fontAlgn="b"/>
                      <a:r>
                        <a:rPr lang="en-US" sz="900" u="none" strike="noStrike">
                          <a:effectLst/>
                        </a:rPr>
                        <a:t>Euronext Amsterdam</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74,8%</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5</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46,2%</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5</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6"/>
                  </a:ext>
                </a:extLst>
              </a:tr>
              <a:tr h="167628">
                <a:tc>
                  <a:txBody>
                    <a:bodyPr/>
                    <a:lstStyle/>
                    <a:p>
                      <a:pPr marL="36000" algn="l" fontAlgn="b"/>
                      <a:r>
                        <a:rPr lang="en-US" sz="900" u="none" strike="noStrike">
                          <a:effectLst/>
                        </a:rPr>
                        <a:t>Borsa Italiana</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73,2%</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6</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60,6%</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8</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7"/>
                  </a:ext>
                </a:extLst>
              </a:tr>
              <a:tr h="167628">
                <a:tc>
                  <a:txBody>
                    <a:bodyPr/>
                    <a:lstStyle/>
                    <a:p>
                      <a:pPr marL="36000" algn="l" fontAlgn="b"/>
                      <a:r>
                        <a:rPr lang="en-US" sz="900" u="none" strike="noStrike">
                          <a:effectLst/>
                        </a:rPr>
                        <a:t>Stock Exchange of Thailand</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73,1%</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7</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6,6%</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3</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8"/>
                  </a:ext>
                </a:extLst>
              </a:tr>
              <a:tr h="167628">
                <a:tc>
                  <a:txBody>
                    <a:bodyPr/>
                    <a:lstStyle/>
                    <a:p>
                      <a:pPr marL="36000" algn="l" fontAlgn="b"/>
                      <a:r>
                        <a:rPr lang="en-US" sz="900" u="none" strike="noStrike" dirty="0">
                          <a:effectLst/>
                        </a:rPr>
                        <a:t>Johannesburg Stock Exchange</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72,4%</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8</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7,2%</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2</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09"/>
                  </a:ext>
                </a:extLst>
              </a:tr>
              <a:tr h="167628">
                <a:tc>
                  <a:txBody>
                    <a:bodyPr/>
                    <a:lstStyle/>
                    <a:p>
                      <a:pPr marL="36000" algn="l" fontAlgn="b"/>
                      <a:r>
                        <a:rPr lang="en-US" sz="900" u="none" strike="noStrike">
                          <a:effectLst/>
                        </a:rPr>
                        <a:t>Oslo Børs</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71,1%</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9</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32,4%</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6</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0"/>
                  </a:ext>
                </a:extLst>
              </a:tr>
              <a:tr h="167628">
                <a:tc>
                  <a:txBody>
                    <a:bodyPr/>
                    <a:lstStyle/>
                    <a:p>
                      <a:pPr marL="36000" algn="l" fontAlgn="b"/>
                      <a:r>
                        <a:rPr lang="en-US" sz="900" u="none" strike="noStrike">
                          <a:effectLst/>
                        </a:rPr>
                        <a:t>SIX Swiss Exchange</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67,5%</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0</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9,7%</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9</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1"/>
                  </a:ext>
                </a:extLst>
              </a:tr>
              <a:tr h="167628">
                <a:tc>
                  <a:txBody>
                    <a:bodyPr/>
                    <a:lstStyle/>
                    <a:p>
                      <a:pPr marL="36000" algn="l" fontAlgn="b"/>
                      <a:r>
                        <a:rPr lang="en-US" sz="900" u="none" strike="noStrike">
                          <a:effectLst/>
                        </a:rPr>
                        <a:t>Australian Securities Exchange</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62,6%</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1</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76,9%</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2"/>
                  </a:ext>
                </a:extLst>
              </a:tr>
              <a:tr h="167628">
                <a:tc>
                  <a:txBody>
                    <a:bodyPr/>
                    <a:lstStyle/>
                    <a:p>
                      <a:pPr marL="36000" algn="l" fontAlgn="b"/>
                      <a:r>
                        <a:rPr lang="en-US" sz="900" u="none" strike="noStrike" dirty="0">
                          <a:effectLst/>
                        </a:rPr>
                        <a:t>Euronext Brussels</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62,5%</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2</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63,1%</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7</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3"/>
                  </a:ext>
                </a:extLst>
              </a:tr>
              <a:tr h="167628">
                <a:tc>
                  <a:txBody>
                    <a:bodyPr/>
                    <a:lstStyle/>
                    <a:p>
                      <a:pPr marL="36000" algn="l" fontAlgn="b"/>
                      <a:r>
                        <a:rPr lang="en-US" sz="900" u="none" strike="noStrike" dirty="0">
                          <a:effectLst/>
                        </a:rPr>
                        <a:t>Santiago Stock Exchange</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60,0%</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3</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66,6%</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4</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4"/>
                  </a:ext>
                </a:extLst>
              </a:tr>
              <a:tr h="167628">
                <a:tc>
                  <a:txBody>
                    <a:bodyPr/>
                    <a:lstStyle/>
                    <a:p>
                      <a:pPr marL="36000" algn="l" fontAlgn="b"/>
                      <a:r>
                        <a:rPr lang="en-US" sz="900" u="none" strike="noStrike" dirty="0">
                          <a:effectLst/>
                        </a:rPr>
                        <a:t>London Stock Exchange</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58,0%</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4</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0,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0</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5"/>
                  </a:ext>
                </a:extLst>
              </a:tr>
              <a:tr h="167628">
                <a:tc>
                  <a:txBody>
                    <a:bodyPr/>
                    <a:lstStyle/>
                    <a:p>
                      <a:pPr marL="36000" algn="l" fontAlgn="b"/>
                      <a:r>
                        <a:rPr lang="en-US" sz="900" u="none" strike="noStrike" dirty="0">
                          <a:effectLst/>
                        </a:rPr>
                        <a:t>Nasdaq Stockholm</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54,9%</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5</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10,3%</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4</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6"/>
                  </a:ext>
                </a:extLst>
              </a:tr>
              <a:tr h="167628">
                <a:tc>
                  <a:txBody>
                    <a:bodyPr/>
                    <a:lstStyle/>
                    <a:p>
                      <a:pPr marL="36000" algn="l" fontAlgn="b"/>
                      <a:r>
                        <a:rPr lang="en-US" sz="1000" u="none" strike="noStrike" dirty="0">
                          <a:effectLst/>
                        </a:rPr>
                        <a:t>Moscow Exchange</a:t>
                      </a:r>
                      <a:endParaRPr lang="en-US" sz="1000" b="1"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1000" u="none" strike="noStrike">
                          <a:effectLst/>
                        </a:rPr>
                        <a:t>54,1%</a:t>
                      </a:r>
                      <a:endParaRPr lang="ru-RU" sz="1000" b="1"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1000" u="none" strike="noStrike">
                          <a:effectLst/>
                        </a:rPr>
                        <a:t>16</a:t>
                      </a:r>
                      <a:endParaRPr lang="ru-RU" sz="1000" b="1"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1000" u="none" strike="noStrike" dirty="0">
                          <a:effectLst/>
                        </a:rPr>
                        <a:t>59,3%</a:t>
                      </a:r>
                      <a:endParaRPr lang="ru-RU" sz="1000" b="1"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1000" u="none" strike="noStrike">
                          <a:effectLst/>
                        </a:rPr>
                        <a:t>10</a:t>
                      </a:r>
                      <a:endParaRPr lang="ru-RU" sz="1000" b="1"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7"/>
                  </a:ext>
                </a:extLst>
              </a:tr>
              <a:tr h="167628">
                <a:tc>
                  <a:txBody>
                    <a:bodyPr/>
                    <a:lstStyle/>
                    <a:p>
                      <a:pPr marL="36000" algn="l" fontAlgn="b"/>
                      <a:r>
                        <a:rPr lang="en-US" sz="900" u="none" strike="noStrike">
                          <a:effectLst/>
                        </a:rPr>
                        <a:t>B3</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54,0%</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7</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8,8%</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3</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8"/>
                  </a:ext>
                </a:extLst>
              </a:tr>
              <a:tr h="167628">
                <a:tc>
                  <a:txBody>
                    <a:bodyPr/>
                    <a:lstStyle/>
                    <a:p>
                      <a:pPr marL="36000" algn="l" fontAlgn="b"/>
                      <a:r>
                        <a:rPr lang="en-US" sz="900" u="none" strike="noStrike" dirty="0">
                          <a:effectLst/>
                        </a:rPr>
                        <a:t>Tokyo Stock Exchange</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52,8%</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8</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63,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6</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19"/>
                  </a:ext>
                </a:extLst>
              </a:tr>
              <a:tr h="167628">
                <a:tc>
                  <a:txBody>
                    <a:bodyPr/>
                    <a:lstStyle/>
                    <a:p>
                      <a:pPr marL="36000" algn="l" fontAlgn="b"/>
                      <a:r>
                        <a:rPr lang="en-US" sz="900" u="none" strike="noStrike">
                          <a:effectLst/>
                        </a:rPr>
                        <a:t>Bolsa de Valores de Colombia</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8,2%</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9</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23,2%</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2</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0"/>
                  </a:ext>
                </a:extLst>
              </a:tr>
              <a:tr h="167628">
                <a:tc>
                  <a:txBody>
                    <a:bodyPr/>
                    <a:lstStyle/>
                    <a:p>
                      <a:pPr marL="36000" algn="l" fontAlgn="b"/>
                      <a:r>
                        <a:rPr lang="en-US" sz="900" u="none" strike="noStrike" dirty="0">
                          <a:effectLst/>
                        </a:rPr>
                        <a:t>Korea Exchange</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6,6%</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0</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27,5%</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0</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1"/>
                  </a:ext>
                </a:extLst>
              </a:tr>
              <a:tr h="167628">
                <a:tc>
                  <a:txBody>
                    <a:bodyPr/>
                    <a:lstStyle/>
                    <a:p>
                      <a:pPr marL="36000" algn="l" fontAlgn="b"/>
                      <a:r>
                        <a:rPr lang="en-US" sz="900" u="none" strike="noStrike" dirty="0">
                          <a:effectLst/>
                        </a:rPr>
                        <a:t>Nasdaq Copenhagen</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4,6%</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1</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2,0%</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35</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2"/>
                  </a:ext>
                </a:extLst>
              </a:tr>
              <a:tr h="167628">
                <a:tc>
                  <a:txBody>
                    <a:bodyPr/>
                    <a:lstStyle/>
                    <a:p>
                      <a:pPr marL="36000" algn="l" fontAlgn="b"/>
                      <a:r>
                        <a:rPr lang="en-US" sz="900" u="none" strike="noStrike">
                          <a:effectLst/>
                        </a:rPr>
                        <a:t>Toronto Stock Exchange</a:t>
                      </a:r>
                      <a:endParaRPr lang="en-US"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4,1%</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2</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0,8%</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9</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3"/>
                  </a:ext>
                </a:extLst>
              </a:tr>
              <a:tr h="167628">
                <a:tc>
                  <a:txBody>
                    <a:bodyPr/>
                    <a:lstStyle/>
                    <a:p>
                      <a:pPr marL="36000" algn="l" fontAlgn="b"/>
                      <a:r>
                        <a:rPr lang="en-US" sz="900" u="none" strike="noStrike" dirty="0" err="1">
                          <a:effectLst/>
                        </a:rPr>
                        <a:t>Borsa</a:t>
                      </a:r>
                      <a:r>
                        <a:rPr lang="en-US" sz="900" u="none" strike="noStrike" dirty="0">
                          <a:effectLst/>
                        </a:rPr>
                        <a:t> Istanbul</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3,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3</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35,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4</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4"/>
                  </a:ext>
                </a:extLst>
              </a:tr>
              <a:tr h="167628">
                <a:tc>
                  <a:txBody>
                    <a:bodyPr/>
                    <a:lstStyle/>
                    <a:p>
                      <a:pPr marL="36000" algn="l" fontAlgn="b"/>
                      <a:r>
                        <a:rPr lang="en-US" sz="900" u="none" strike="noStrike" dirty="0">
                          <a:effectLst/>
                        </a:rPr>
                        <a:t>Singapore Exchange</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39,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4</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45,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16</a:t>
                      </a:r>
                      <a:endParaRPr lang="ru-RU" sz="900" b="0" i="0" u="none" strike="noStrike">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5"/>
                  </a:ext>
                </a:extLst>
              </a:tr>
              <a:tr h="167628">
                <a:tc>
                  <a:txBody>
                    <a:bodyPr/>
                    <a:lstStyle/>
                    <a:p>
                      <a:pPr marL="36000" algn="l" fontAlgn="b"/>
                      <a:r>
                        <a:rPr lang="en-US" sz="900" u="none" strike="noStrike" dirty="0">
                          <a:effectLst/>
                        </a:rPr>
                        <a:t>Bursa Malaysia</a:t>
                      </a:r>
                      <a:endParaRPr lang="en-US"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33,7%</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a:effectLst/>
                        </a:rPr>
                        <a:t>25</a:t>
                      </a:r>
                      <a:endParaRPr lang="ru-RU" sz="900" b="0" i="0" u="none" strike="noStrike">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82,3%</a:t>
                      </a:r>
                      <a:endParaRPr lang="ru-RU" sz="900" b="0" i="0" u="none" strike="noStrike" dirty="0">
                        <a:solidFill>
                          <a:srgbClr val="000000"/>
                        </a:solidFill>
                        <a:effectLst/>
                        <a:latin typeface="Tahoma" panose="020B0604030504040204" pitchFamily="34" charset="0"/>
                      </a:endParaRPr>
                    </a:p>
                  </a:txBody>
                  <a:tcPr marL="8823" marR="8823" marT="8823" marB="0" anchor="b"/>
                </a:tc>
                <a:tc>
                  <a:txBody>
                    <a:bodyPr/>
                    <a:lstStyle/>
                    <a:p>
                      <a:pPr algn="ctr" fontAlgn="b"/>
                      <a:r>
                        <a:rPr lang="ru-RU" sz="900" u="none" strike="noStrike" dirty="0">
                          <a:effectLst/>
                        </a:rPr>
                        <a:t>2</a:t>
                      </a:r>
                      <a:endParaRPr lang="ru-RU" sz="900" b="0" i="0" u="none" strike="noStrike" dirty="0">
                        <a:solidFill>
                          <a:srgbClr val="000000"/>
                        </a:solidFill>
                        <a:effectLst/>
                        <a:latin typeface="Tahoma" panose="020B0604030504040204" pitchFamily="34" charset="0"/>
                      </a:endParaRPr>
                    </a:p>
                  </a:txBody>
                  <a:tcPr marL="8823" marR="8823" marT="8823" marB="0" anchor="b"/>
                </a:tc>
                <a:extLst>
                  <a:ext uri="{0D108BD9-81ED-4DB2-BD59-A6C34878D82A}">
                    <a16:rowId xmlns:a16="http://schemas.microsoft.com/office/drawing/2014/main" val="10026"/>
                  </a:ext>
                </a:extLst>
              </a:tr>
            </a:tbl>
          </a:graphicData>
        </a:graphic>
      </p:graphicFrame>
      <p:sp>
        <p:nvSpPr>
          <p:cNvPr id="2" name="Номер слайда 1"/>
          <p:cNvSpPr>
            <a:spLocks noGrp="1"/>
          </p:cNvSpPr>
          <p:nvPr>
            <p:ph type="sldNum" sz="quarter" idx="12"/>
          </p:nvPr>
        </p:nvSpPr>
        <p:spPr/>
        <p:txBody>
          <a:bodyPr/>
          <a:lstStyle/>
          <a:p>
            <a:fld id="{B9E2B10B-2B5B-4D21-B621-3C15B0884A5E}" type="slidenum">
              <a:rPr lang="ru-RU" smtClean="0">
                <a:solidFill>
                  <a:srgbClr val="000000">
                    <a:tint val="75000"/>
                  </a:srgbClr>
                </a:solidFill>
              </a:rPr>
              <a:pPr/>
              <a:t>2</a:t>
            </a:fld>
            <a:endParaRPr lang="ru-RU">
              <a:solidFill>
                <a:srgbClr val="000000">
                  <a:tint val="75000"/>
                </a:srgbClr>
              </a:solidFill>
            </a:endParaRPr>
          </a:p>
        </p:txBody>
      </p:sp>
      <p:sp>
        <p:nvSpPr>
          <p:cNvPr id="5" name="Номер слайда 2"/>
          <p:cNvSpPr txBox="1">
            <a:spLocks/>
          </p:cNvSpPr>
          <p:nvPr/>
        </p:nvSpPr>
        <p:spPr>
          <a:xfrm>
            <a:off x="9087000" y="6192000"/>
            <a:ext cx="390000" cy="360000"/>
          </a:xfrm>
          <a:prstGeom prst="rect">
            <a:avLst/>
          </a:prstGeom>
        </p:spPr>
        <p:txBody>
          <a:bodyPr vert="horz" lIns="91440" tIns="45720" rIns="0" bIns="0" rtlCol="0" anchor="ctr"/>
          <a:lstStyle>
            <a:defPPr>
              <a:defRPr lang="ru-RU"/>
            </a:defPPr>
            <a:lvl1pPr marL="0" algn="r" defTabSz="914400" rtl="0" eaLnBrk="1" latinLnBrk="0" hangingPunct="1">
              <a:defRPr sz="975" kern="1200">
                <a:solidFill>
                  <a:schemeClr val="tx1">
                    <a:tint val="75000"/>
                  </a:schemeClr>
                </a:solidFill>
                <a:latin typeface="+mj-lt"/>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E01335-259E-40F9-B4E1-7E4FDCDF6836}" type="slidenum">
              <a:rPr lang="ru-RU" smtClean="0">
                <a:solidFill>
                  <a:srgbClr val="000000">
                    <a:tint val="75000"/>
                  </a:srgbClr>
                </a:solidFill>
              </a:rPr>
              <a:pPr/>
              <a:t>2</a:t>
            </a:fld>
            <a:endParaRPr lang="ru-RU" dirty="0">
              <a:solidFill>
                <a:srgbClr val="000000">
                  <a:tint val="75000"/>
                </a:srgbClr>
              </a:solidFill>
            </a:endParaRPr>
          </a:p>
        </p:txBody>
      </p:sp>
      <p:sp>
        <p:nvSpPr>
          <p:cNvPr id="6" name="Заголовок 1"/>
          <p:cNvSpPr>
            <a:spLocks noGrp="1"/>
          </p:cNvSpPr>
          <p:nvPr>
            <p:ph type="title"/>
          </p:nvPr>
        </p:nvSpPr>
        <p:spPr>
          <a:xfrm>
            <a:off x="1186271" y="83844"/>
            <a:ext cx="8473259" cy="756000"/>
          </a:xfrm>
        </p:spPr>
        <p:txBody>
          <a:bodyPr/>
          <a:lstStyle/>
          <a:p>
            <a:pPr>
              <a:lnSpc>
                <a:spcPct val="120000"/>
              </a:lnSpc>
            </a:pPr>
            <a:r>
              <a:rPr lang="ru-RU" b="1" dirty="0" smtClean="0"/>
              <a:t>МИРОВОЙ ТРЕНД – ПОВЫШЕНИЕ ИНТЕРЕСА К ИНВЕСТИЦИЯМ, </a:t>
            </a:r>
            <a:br>
              <a:rPr lang="ru-RU" b="1" dirty="0" smtClean="0"/>
            </a:br>
            <a:r>
              <a:rPr lang="ru-RU" b="1" dirty="0" smtClean="0"/>
              <a:t>ОСНОВАННЫМ НА ПРИНЦИПАХ УСТОЙЧИВОГО РАЗВИТИЯ И КСО</a:t>
            </a:r>
            <a:endParaRPr lang="ru-RU" b="1" dirty="0"/>
          </a:p>
        </p:txBody>
      </p:sp>
      <p:sp>
        <p:nvSpPr>
          <p:cNvPr id="7" name="TextBox 6"/>
          <p:cNvSpPr txBox="1"/>
          <p:nvPr/>
        </p:nvSpPr>
        <p:spPr>
          <a:xfrm>
            <a:off x="1186272" y="926425"/>
            <a:ext cx="4176002" cy="461665"/>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r>
              <a:rPr lang="ru-RU" sz="1200" dirty="0">
                <a:latin typeface="Tahoma" panose="020B0604030504040204" pitchFamily="34" charset="0"/>
                <a:ea typeface="Tahoma" panose="020B0604030504040204" pitchFamily="34" charset="0"/>
                <a:cs typeface="Tahoma" panose="020B0604030504040204" pitchFamily="34" charset="0"/>
              </a:rPr>
              <a:t>Рейтинг бирж по раскрытию эмитентов </a:t>
            </a:r>
            <a:br>
              <a:rPr lang="ru-RU" sz="1200" dirty="0">
                <a:latin typeface="Tahoma" panose="020B0604030504040204" pitchFamily="34" charset="0"/>
                <a:ea typeface="Tahoma" panose="020B0604030504040204" pitchFamily="34" charset="0"/>
                <a:cs typeface="Tahoma" panose="020B0604030504040204" pitchFamily="34" charset="0"/>
              </a:rPr>
            </a:br>
            <a:r>
              <a:rPr lang="ru-RU" sz="1200" dirty="0">
                <a:latin typeface="Tahoma" panose="020B0604030504040204" pitchFamily="34" charset="0"/>
                <a:ea typeface="Tahoma" panose="020B0604030504040204" pitchFamily="34" charset="0"/>
                <a:cs typeface="Tahoma" panose="020B0604030504040204" pitchFamily="34" charset="0"/>
              </a:rPr>
              <a:t>в области УР и КСО</a:t>
            </a:r>
          </a:p>
        </p:txBody>
      </p:sp>
      <p:sp>
        <p:nvSpPr>
          <p:cNvPr id="9" name="Прямоугольник 8"/>
          <p:cNvSpPr/>
          <p:nvPr/>
        </p:nvSpPr>
        <p:spPr>
          <a:xfrm>
            <a:off x="1186270" y="4487651"/>
            <a:ext cx="4176003" cy="136107"/>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2"/>
          <a:stretch>
            <a:fillRect/>
          </a:stretch>
        </p:blipFill>
        <p:spPr>
          <a:xfrm>
            <a:off x="5558031" y="1698197"/>
            <a:ext cx="4116684" cy="2183690"/>
          </a:xfrm>
          <a:prstGeom prst="rect">
            <a:avLst/>
          </a:prstGeom>
        </p:spPr>
      </p:pic>
      <p:sp>
        <p:nvSpPr>
          <p:cNvPr id="14" name="Прямоугольник 13"/>
          <p:cNvSpPr/>
          <p:nvPr/>
        </p:nvSpPr>
        <p:spPr>
          <a:xfrm>
            <a:off x="4616569" y="6372000"/>
            <a:ext cx="4581405" cy="215444"/>
          </a:xfrm>
          <a:prstGeom prst="rect">
            <a:avLst/>
          </a:prstGeom>
        </p:spPr>
        <p:txBody>
          <a:bodyPr wrap="square">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ru-RU" sz="800" b="0" i="1" u="none" strike="noStrike" kern="1200" cap="none" spc="0" normalizeH="0" baseline="0" noProof="0" dirty="0" smtClean="0">
                <a:ln>
                  <a:noFill/>
                </a:ln>
                <a:solidFill>
                  <a:srgbClr val="000000"/>
                </a:solidFill>
                <a:effectLst/>
                <a:uLnTx/>
                <a:uFillTx/>
                <a:latin typeface="Tahoma"/>
                <a:cs typeface="Arial" panose="020B0604020202020204" pitchFamily="34" charset="0"/>
              </a:rPr>
              <a:t>Источник</a:t>
            </a:r>
            <a:r>
              <a:rPr lang="ru-RU" sz="800" i="1" dirty="0">
                <a:solidFill>
                  <a:srgbClr val="000000"/>
                </a:solidFill>
                <a:latin typeface="Tahoma"/>
                <a:cs typeface="Arial" panose="020B0604020202020204" pitchFamily="34" charset="0"/>
              </a:rPr>
              <a:t>и</a:t>
            </a:r>
            <a:r>
              <a:rPr kumimoji="0" lang="ru-RU" sz="800" b="0" i="1" u="none" strike="noStrike" kern="1200" cap="none" spc="0" normalizeH="0" baseline="0" noProof="0" dirty="0" smtClean="0">
                <a:ln>
                  <a:noFill/>
                </a:ln>
                <a:solidFill>
                  <a:srgbClr val="000000"/>
                </a:solidFill>
                <a:effectLst/>
                <a:uLnTx/>
                <a:uFillTx/>
                <a:latin typeface="Tahoma"/>
                <a:cs typeface="Arial" panose="020B0604020202020204" pitchFamily="34" charset="0"/>
              </a:rPr>
              <a:t>: </a:t>
            </a:r>
            <a:r>
              <a:rPr kumimoji="0" lang="en-US" sz="800" b="0" i="1" u="none" strike="noStrike" kern="1200" cap="none" spc="0" normalizeH="0" baseline="0" noProof="0" dirty="0" smtClean="0">
                <a:ln>
                  <a:noFill/>
                </a:ln>
                <a:solidFill>
                  <a:srgbClr val="000000"/>
                </a:solidFill>
                <a:effectLst/>
                <a:uLnTx/>
                <a:uFillTx/>
                <a:latin typeface="Tahoma"/>
                <a:cs typeface="Arial" panose="020B0604020202020204" pitchFamily="34" charset="0"/>
              </a:rPr>
              <a:t>SSE 2018 Report on progress, </a:t>
            </a:r>
            <a:r>
              <a:rPr lang="en-US" sz="800" i="1" dirty="0" smtClean="0">
                <a:solidFill>
                  <a:srgbClr val="000000"/>
                </a:solidFill>
                <a:latin typeface="Tahoma"/>
                <a:cs typeface="Arial" panose="020B0604020202020204" pitchFamily="34" charset="0"/>
              </a:rPr>
              <a:t>UNCTAD (2018) World Investment Report</a:t>
            </a:r>
            <a:endParaRPr kumimoji="0" lang="ru-RU" sz="800" b="0" i="1" u="none" strike="noStrike" kern="1200" cap="none" spc="0" normalizeH="0" baseline="0" noProof="0" dirty="0">
              <a:ln>
                <a:noFill/>
              </a:ln>
              <a:solidFill>
                <a:srgbClr val="000000"/>
              </a:solidFill>
              <a:effectLst/>
              <a:uLnTx/>
              <a:uFillTx/>
              <a:latin typeface="Tahoma"/>
              <a:cs typeface="Arial" panose="020B0604020202020204" pitchFamily="34" charset="0"/>
            </a:endParaRPr>
          </a:p>
        </p:txBody>
      </p:sp>
      <p:sp>
        <p:nvSpPr>
          <p:cNvPr id="15" name="TextBox 14"/>
          <p:cNvSpPr txBox="1"/>
          <p:nvPr/>
        </p:nvSpPr>
        <p:spPr>
          <a:xfrm>
            <a:off x="5724760" y="926425"/>
            <a:ext cx="3800475" cy="461665"/>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r>
              <a:rPr lang="ru-RU" sz="1200" dirty="0">
                <a:latin typeface="Tahoma" panose="020B0604030504040204" pitchFamily="34" charset="0"/>
                <a:ea typeface="Tahoma" panose="020B0604030504040204" pitchFamily="34" charset="0"/>
                <a:cs typeface="Tahoma" panose="020B0604030504040204" pitchFamily="34" charset="0"/>
              </a:rPr>
              <a:t>Число бирж, эмитенты которых включены </a:t>
            </a:r>
            <a:br>
              <a:rPr lang="ru-RU" sz="1200" dirty="0">
                <a:latin typeface="Tahoma" panose="020B0604030504040204" pitchFamily="34" charset="0"/>
                <a:ea typeface="Tahoma" panose="020B0604030504040204" pitchFamily="34" charset="0"/>
                <a:cs typeface="Tahoma" panose="020B0604030504040204" pitchFamily="34" charset="0"/>
              </a:rPr>
            </a:br>
            <a:r>
              <a:rPr lang="ru-RU" sz="1200" dirty="0">
                <a:latin typeface="Tahoma" panose="020B0604030504040204" pitchFamily="34" charset="0"/>
                <a:ea typeface="Tahoma" panose="020B0604030504040204" pitchFamily="34" charset="0"/>
                <a:cs typeface="Tahoma" panose="020B0604030504040204" pitchFamily="34" charset="0"/>
              </a:rPr>
              <a:t>в индексы УР</a:t>
            </a:r>
          </a:p>
        </p:txBody>
      </p:sp>
      <p:sp>
        <p:nvSpPr>
          <p:cNvPr id="16" name="TextBox 15"/>
          <p:cNvSpPr txBox="1"/>
          <p:nvPr/>
        </p:nvSpPr>
        <p:spPr>
          <a:xfrm>
            <a:off x="5724760" y="3928451"/>
            <a:ext cx="3800475" cy="461665"/>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r>
              <a:rPr lang="ru-RU" sz="1200" dirty="0"/>
              <a:t>Годовая доходность </a:t>
            </a:r>
            <a:r>
              <a:rPr lang="en-US" sz="1200" dirty="0"/>
              <a:t>ESG </a:t>
            </a:r>
            <a:r>
              <a:rPr lang="ru-RU" sz="1200" dirty="0"/>
              <a:t>и </a:t>
            </a:r>
            <a:r>
              <a:rPr lang="en-US" sz="1200" dirty="0"/>
              <a:t>BM </a:t>
            </a:r>
            <a:r>
              <a:rPr lang="ru-RU" sz="1200" dirty="0" smtClean="0"/>
              <a:t/>
            </a:r>
            <a:br>
              <a:rPr lang="ru-RU" sz="1200" dirty="0" smtClean="0"/>
            </a:br>
            <a:r>
              <a:rPr lang="ru-RU" sz="1200" dirty="0" smtClean="0"/>
              <a:t>индексов </a:t>
            </a:r>
            <a:r>
              <a:rPr lang="ru-RU" sz="1200" dirty="0"/>
              <a:t>США, %</a:t>
            </a:r>
          </a:p>
        </p:txBody>
      </p:sp>
      <p:graphicFrame>
        <p:nvGraphicFramePr>
          <p:cNvPr id="17" name="Диаграмма 16"/>
          <p:cNvGraphicFramePr>
            <a:graphicFrameLocks/>
          </p:cNvGraphicFramePr>
          <p:nvPr>
            <p:extLst>
              <p:ext uri="{D42A27DB-BD31-4B8C-83A1-F6EECF244321}">
                <p14:modId xmlns:p14="http://schemas.microsoft.com/office/powerpoint/2010/main" val="1073514636"/>
              </p:ext>
            </p:extLst>
          </p:nvPr>
        </p:nvGraphicFramePr>
        <p:xfrm>
          <a:off x="5724760" y="4390116"/>
          <a:ext cx="3752240" cy="18018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13143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B9E2B10B-2B5B-4D21-B621-3C15B0884A5E}" type="slidenum">
              <a:rPr lang="ru-RU" smtClean="0">
                <a:solidFill>
                  <a:srgbClr val="000000">
                    <a:tint val="75000"/>
                  </a:srgbClr>
                </a:solidFill>
              </a:rPr>
              <a:pPr/>
              <a:t>3</a:t>
            </a:fld>
            <a:endParaRPr lang="ru-RU">
              <a:solidFill>
                <a:srgbClr val="000000">
                  <a:tint val="75000"/>
                </a:srgbClr>
              </a:solidFill>
            </a:endParaRPr>
          </a:p>
        </p:txBody>
      </p:sp>
      <p:sp>
        <p:nvSpPr>
          <p:cNvPr id="6" name="Заголовок 1"/>
          <p:cNvSpPr>
            <a:spLocks noGrp="1"/>
          </p:cNvSpPr>
          <p:nvPr>
            <p:ph type="title"/>
          </p:nvPr>
        </p:nvSpPr>
        <p:spPr>
          <a:xfrm>
            <a:off x="1186271" y="152855"/>
            <a:ext cx="8473259" cy="756000"/>
          </a:xfrm>
        </p:spPr>
        <p:txBody>
          <a:bodyPr/>
          <a:lstStyle/>
          <a:p>
            <a:pPr>
              <a:lnSpc>
                <a:spcPct val="120000"/>
              </a:lnSpc>
            </a:pPr>
            <a:r>
              <a:rPr lang="ru-RU" b="1" dirty="0" smtClean="0"/>
              <a:t>ЗАРУБЕЖНЫЕ ФИНАНСОВЫЕ РЫНКИ.</a:t>
            </a:r>
            <a:br>
              <a:rPr lang="ru-RU" b="1" dirty="0" smtClean="0"/>
            </a:br>
            <a:r>
              <a:rPr lang="ru-RU" b="1" dirty="0" smtClean="0"/>
              <a:t>ДОХОДНОСТЬ И МУЛЬТИПЛИКАТОРЫ КЛАССИЧЕСКИХ И </a:t>
            </a:r>
            <a:r>
              <a:rPr lang="en-US" b="1" dirty="0" smtClean="0"/>
              <a:t>ESG-</a:t>
            </a:r>
            <a:r>
              <a:rPr lang="ru-RU" b="1" dirty="0" smtClean="0"/>
              <a:t>ИНДЕКСОВ</a:t>
            </a:r>
            <a:endParaRPr lang="ru-RU" b="1" dirty="0"/>
          </a:p>
        </p:txBody>
      </p:sp>
      <p:sp>
        <p:nvSpPr>
          <p:cNvPr id="7" name="Прямоугольник 6"/>
          <p:cNvSpPr/>
          <p:nvPr/>
        </p:nvSpPr>
        <p:spPr>
          <a:xfrm>
            <a:off x="7031770" y="6165850"/>
            <a:ext cx="1982788" cy="2308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ru-RU" sz="900" b="0" i="1" u="none" strike="noStrike" kern="1200" cap="none" spc="0" normalizeH="0" baseline="0" noProof="0" dirty="0">
                <a:ln>
                  <a:noFill/>
                </a:ln>
                <a:solidFill>
                  <a:srgbClr val="000000"/>
                </a:solidFill>
                <a:effectLst/>
                <a:uLnTx/>
                <a:uFillTx/>
                <a:latin typeface="Tahoma"/>
                <a:ea typeface="+mn-ea"/>
                <a:cs typeface="Arial" panose="020B0604020202020204" pitchFamily="34" charset="0"/>
              </a:rPr>
              <a:t>Источник: </a:t>
            </a:r>
            <a:r>
              <a:rPr kumimoji="0" lang="en-US" sz="900" b="0" i="1" u="none" strike="noStrike" kern="1200" cap="none" spc="0" normalizeH="0" baseline="0" noProof="0" dirty="0" smtClean="0">
                <a:ln>
                  <a:noFill/>
                </a:ln>
                <a:solidFill>
                  <a:srgbClr val="000000"/>
                </a:solidFill>
                <a:effectLst/>
                <a:uLnTx/>
                <a:uFillTx/>
                <a:latin typeface="Tahoma"/>
                <a:ea typeface="+mn-ea"/>
                <a:cs typeface="Arial" panose="020B0604020202020204" pitchFamily="34" charset="0"/>
              </a:rPr>
              <a:t>MSCI</a:t>
            </a:r>
            <a:r>
              <a:rPr kumimoji="0" lang="ru-RU" sz="900" b="0" i="1" u="none" strike="noStrike" kern="1200" cap="none" spc="0" normalizeH="0" baseline="0" noProof="0" dirty="0" smtClean="0">
                <a:ln>
                  <a:noFill/>
                </a:ln>
                <a:solidFill>
                  <a:srgbClr val="000000"/>
                </a:solidFill>
                <a:effectLst/>
                <a:uLnTx/>
                <a:uFillTx/>
                <a:latin typeface="Tahoma"/>
                <a:ea typeface="+mn-ea"/>
                <a:cs typeface="Arial" panose="020B0604020202020204" pitchFamily="34" charset="0"/>
              </a:rPr>
              <a:t> на </a:t>
            </a:r>
            <a:r>
              <a:rPr kumimoji="0" lang="en-US" sz="900" b="0" i="1" u="none" strike="noStrike" kern="1200" cap="none" spc="0" normalizeH="0" baseline="0" noProof="0" dirty="0" smtClean="0">
                <a:ln>
                  <a:noFill/>
                </a:ln>
                <a:solidFill>
                  <a:srgbClr val="000000"/>
                </a:solidFill>
                <a:effectLst/>
                <a:uLnTx/>
                <a:uFillTx/>
                <a:latin typeface="Tahoma"/>
                <a:ea typeface="+mn-ea"/>
                <a:cs typeface="Arial" panose="020B0604020202020204" pitchFamily="34" charset="0"/>
              </a:rPr>
              <a:t>31</a:t>
            </a:r>
            <a:r>
              <a:rPr kumimoji="0" lang="ru-RU" sz="900" b="0" i="1" u="none" strike="noStrike" kern="1200" cap="none" spc="0" normalizeH="0" baseline="0" noProof="0" dirty="0" smtClean="0">
                <a:ln>
                  <a:noFill/>
                </a:ln>
                <a:solidFill>
                  <a:srgbClr val="000000"/>
                </a:solidFill>
                <a:effectLst/>
                <a:uLnTx/>
                <a:uFillTx/>
                <a:latin typeface="Tahoma"/>
                <a:ea typeface="+mn-ea"/>
                <a:cs typeface="Arial" panose="020B0604020202020204" pitchFamily="34" charset="0"/>
              </a:rPr>
              <a:t>.0</a:t>
            </a:r>
            <a:r>
              <a:rPr kumimoji="0" lang="en-US" sz="900" b="0" i="1" u="none" strike="noStrike" kern="1200" cap="none" spc="0" normalizeH="0" baseline="0" noProof="0" dirty="0" smtClean="0">
                <a:ln>
                  <a:noFill/>
                </a:ln>
                <a:solidFill>
                  <a:srgbClr val="000000"/>
                </a:solidFill>
                <a:effectLst/>
                <a:uLnTx/>
                <a:uFillTx/>
                <a:latin typeface="Tahoma"/>
                <a:ea typeface="+mn-ea"/>
                <a:cs typeface="Arial" panose="020B0604020202020204" pitchFamily="34" charset="0"/>
              </a:rPr>
              <a:t>8</a:t>
            </a:r>
            <a:r>
              <a:rPr kumimoji="0" lang="ru-RU" sz="900" b="0" i="1" u="none" strike="noStrike" kern="1200" cap="none" spc="0" normalizeH="0" baseline="0" noProof="0" dirty="0" smtClean="0">
                <a:ln>
                  <a:noFill/>
                </a:ln>
                <a:solidFill>
                  <a:srgbClr val="000000"/>
                </a:solidFill>
                <a:effectLst/>
                <a:uLnTx/>
                <a:uFillTx/>
                <a:latin typeface="Tahoma"/>
                <a:ea typeface="+mn-ea"/>
                <a:cs typeface="Arial" panose="020B0604020202020204" pitchFamily="34" charset="0"/>
              </a:rPr>
              <a:t>.2018</a:t>
            </a:r>
            <a:endParaRPr kumimoji="0" lang="ru-RU" sz="900" b="0" i="1" u="none" strike="noStrike" kern="1200" cap="none" spc="0" normalizeH="0" baseline="0" noProof="0" dirty="0">
              <a:ln>
                <a:noFill/>
              </a:ln>
              <a:solidFill>
                <a:srgbClr val="000000"/>
              </a:solidFill>
              <a:effectLst/>
              <a:uLnTx/>
              <a:uFillTx/>
              <a:latin typeface="Tahoma"/>
              <a:ea typeface="+mn-ea"/>
              <a:cs typeface="Arial" panose="020B0604020202020204"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1929141758"/>
              </p:ext>
            </p:extLst>
          </p:nvPr>
        </p:nvGraphicFramePr>
        <p:xfrm>
          <a:off x="1794403" y="978816"/>
          <a:ext cx="6949440" cy="5192373"/>
        </p:xfrm>
        <a:graphic>
          <a:graphicData uri="http://schemas.openxmlformats.org/drawingml/2006/table">
            <a:tbl>
              <a:tblPr firstRow="1" bandRow="1">
                <a:tableStyleId>{5C22544A-7EE6-4342-B048-85BDC9FD1C3A}</a:tableStyleId>
              </a:tblPr>
              <a:tblGrid>
                <a:gridCol w="1737360">
                  <a:extLst>
                    <a:ext uri="{9D8B030D-6E8A-4147-A177-3AD203B41FA5}">
                      <a16:colId xmlns:a16="http://schemas.microsoft.com/office/drawing/2014/main" val="20000"/>
                    </a:ext>
                  </a:extLst>
                </a:gridCol>
                <a:gridCol w="1737360">
                  <a:extLst>
                    <a:ext uri="{9D8B030D-6E8A-4147-A177-3AD203B41FA5}">
                      <a16:colId xmlns:a16="http://schemas.microsoft.com/office/drawing/2014/main" val="20001"/>
                    </a:ext>
                  </a:extLst>
                </a:gridCol>
                <a:gridCol w="1737360">
                  <a:extLst>
                    <a:ext uri="{9D8B030D-6E8A-4147-A177-3AD203B41FA5}">
                      <a16:colId xmlns:a16="http://schemas.microsoft.com/office/drawing/2014/main" val="20002"/>
                    </a:ext>
                  </a:extLst>
                </a:gridCol>
                <a:gridCol w="1737360">
                  <a:extLst>
                    <a:ext uri="{9D8B030D-6E8A-4147-A177-3AD203B41FA5}">
                      <a16:colId xmlns:a16="http://schemas.microsoft.com/office/drawing/2014/main" val="20003"/>
                    </a:ext>
                  </a:extLst>
                </a:gridCol>
              </a:tblGrid>
              <a:tr h="553728">
                <a:tc>
                  <a:txBody>
                    <a:bodyPr/>
                    <a:lstStyle/>
                    <a:p>
                      <a:endParaRPr lang="ru-RU" sz="1000"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000" dirty="0" smtClean="0"/>
                        <a:t>Доходность за</a:t>
                      </a:r>
                      <a:r>
                        <a:rPr lang="en-US" sz="1000" dirty="0" smtClean="0"/>
                        <a:t> 2017</a:t>
                      </a:r>
                      <a:r>
                        <a:rPr lang="ru-RU" sz="1000" dirty="0" smtClean="0"/>
                        <a:t>г</a:t>
                      </a:r>
                      <a:r>
                        <a:rPr lang="en-US" sz="1000" dirty="0" smtClean="0"/>
                        <a:t> </a:t>
                      </a:r>
                      <a:r>
                        <a:rPr lang="en-US" sz="1000" baseline="0" dirty="0" smtClean="0"/>
                        <a:t>(%)</a:t>
                      </a:r>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ru-RU" sz="1000" dirty="0" smtClean="0"/>
                        <a:t>Дивидендная доходность</a:t>
                      </a:r>
                      <a:r>
                        <a:rPr lang="en-US" sz="1000" dirty="0" smtClean="0"/>
                        <a:t> (%)</a:t>
                      </a:r>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r>
                        <a:rPr lang="en-US" sz="1000" dirty="0" smtClean="0"/>
                        <a:t>P/E</a:t>
                      </a:r>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927729">
                <a:tc>
                  <a:txBody>
                    <a:bodyPr/>
                    <a:lstStyle/>
                    <a:p>
                      <a:r>
                        <a:rPr lang="en-US" sz="1000" b="1" dirty="0" smtClean="0"/>
                        <a:t>MSCI ACWI</a:t>
                      </a:r>
                    </a:p>
                    <a:p>
                      <a:r>
                        <a:rPr lang="en-US" sz="1000" dirty="0" smtClean="0"/>
                        <a:t>All Country World Index – 23 DM,</a:t>
                      </a:r>
                      <a:r>
                        <a:rPr lang="en-US" sz="1000" baseline="0" dirty="0" smtClean="0"/>
                        <a:t> 24 EM</a:t>
                      </a:r>
                    </a:p>
                    <a:p>
                      <a:endParaRPr lang="en-US" sz="100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baseline="0" dirty="0" smtClean="0">
                          <a:solidFill>
                            <a:schemeClr val="accent1"/>
                          </a:solidFill>
                        </a:rPr>
                        <a:t>vs </a:t>
                      </a:r>
                      <a:r>
                        <a:rPr lang="en-US" sz="1000" b="1" i="1" dirty="0" smtClean="0">
                          <a:solidFill>
                            <a:schemeClr val="accent1"/>
                          </a:solidFill>
                        </a:rPr>
                        <a:t>MSCI ACWI ES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1"/>
                  </a:ext>
                </a:extLst>
              </a:tr>
              <a:tr h="927729">
                <a:tc>
                  <a:txBody>
                    <a:bodyPr/>
                    <a:lstStyle/>
                    <a:p>
                      <a:r>
                        <a:rPr lang="en-US" sz="1000" b="1" dirty="0" smtClean="0"/>
                        <a:t>MSCI World</a:t>
                      </a:r>
                    </a:p>
                    <a:p>
                      <a:r>
                        <a:rPr lang="en-US" sz="1000" dirty="0" smtClean="0"/>
                        <a:t>23 DM</a:t>
                      </a:r>
                    </a:p>
                    <a:p>
                      <a:endParaRPr lang="en-US" sz="100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baseline="0" dirty="0" smtClean="0">
                          <a:solidFill>
                            <a:schemeClr val="accent1"/>
                          </a:solidFill>
                        </a:rPr>
                        <a:t>vs </a:t>
                      </a:r>
                      <a:r>
                        <a:rPr lang="en-US" sz="1000" b="1" i="1" dirty="0" smtClean="0">
                          <a:solidFill>
                            <a:schemeClr val="accent1"/>
                          </a:solidFill>
                        </a:rPr>
                        <a:t>MSCI World</a:t>
                      </a:r>
                      <a:r>
                        <a:rPr lang="en-US" sz="1000" b="1" i="1" baseline="0" dirty="0" smtClean="0">
                          <a:solidFill>
                            <a:schemeClr val="accent1"/>
                          </a:solidFill>
                        </a:rPr>
                        <a:t> </a:t>
                      </a:r>
                      <a:r>
                        <a:rPr lang="en-US" sz="1000" b="1" i="1" dirty="0" smtClean="0">
                          <a:solidFill>
                            <a:schemeClr val="accent1"/>
                          </a:solidFill>
                        </a:rPr>
                        <a:t>ES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2"/>
                  </a:ext>
                </a:extLst>
              </a:tr>
              <a:tr h="927729">
                <a:tc>
                  <a:txBody>
                    <a:bodyPr/>
                    <a:lstStyle/>
                    <a:p>
                      <a:r>
                        <a:rPr lang="en-US" sz="1000" b="1" dirty="0" smtClean="0"/>
                        <a:t>MSCI Emerging Markets</a:t>
                      </a:r>
                    </a:p>
                    <a:p>
                      <a:r>
                        <a:rPr lang="en-US" sz="1000" dirty="0" smtClean="0"/>
                        <a:t>24 EM</a:t>
                      </a:r>
                    </a:p>
                    <a:p>
                      <a:endParaRPr lang="en-US" sz="100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baseline="0" dirty="0" smtClean="0">
                          <a:solidFill>
                            <a:schemeClr val="accent1"/>
                          </a:solidFill>
                        </a:rPr>
                        <a:t>vs </a:t>
                      </a:r>
                      <a:r>
                        <a:rPr lang="en-US" sz="1000" b="1" i="1" dirty="0" smtClean="0">
                          <a:solidFill>
                            <a:schemeClr val="accent1"/>
                          </a:solidFill>
                        </a:rPr>
                        <a:t>MSCI EM</a:t>
                      </a:r>
                      <a:r>
                        <a:rPr lang="en-US" sz="1000" b="1" i="1" baseline="0" dirty="0" smtClean="0">
                          <a:solidFill>
                            <a:schemeClr val="accent1"/>
                          </a:solidFill>
                        </a:rPr>
                        <a:t> </a:t>
                      </a:r>
                      <a:r>
                        <a:rPr lang="en-US" sz="1000" b="1" i="1" dirty="0" smtClean="0">
                          <a:solidFill>
                            <a:schemeClr val="accent1"/>
                          </a:solidFill>
                        </a:rPr>
                        <a:t>ES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3"/>
                  </a:ext>
                </a:extLst>
              </a:tr>
              <a:tr h="927729">
                <a:tc>
                  <a:txBody>
                    <a:bodyPr/>
                    <a:lstStyle/>
                    <a:p>
                      <a:r>
                        <a:rPr lang="en-US" sz="1000" b="1" dirty="0" smtClean="0"/>
                        <a:t>MSCI Europe</a:t>
                      </a:r>
                    </a:p>
                    <a:p>
                      <a:r>
                        <a:rPr lang="en-US" sz="1000" dirty="0" smtClean="0"/>
                        <a:t>15 DM in Europe</a:t>
                      </a:r>
                    </a:p>
                    <a:p>
                      <a:endParaRPr lang="en-US" sz="100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baseline="0" dirty="0" smtClean="0">
                          <a:solidFill>
                            <a:schemeClr val="accent1"/>
                          </a:solidFill>
                        </a:rPr>
                        <a:t>vs </a:t>
                      </a:r>
                      <a:r>
                        <a:rPr lang="en-US" sz="1000" b="1" i="1" dirty="0" smtClean="0">
                          <a:solidFill>
                            <a:schemeClr val="accent1"/>
                          </a:solidFill>
                        </a:rPr>
                        <a:t>MSCI Europe</a:t>
                      </a:r>
                      <a:r>
                        <a:rPr lang="en-US" sz="1000" b="1" i="1" baseline="0" dirty="0" smtClean="0">
                          <a:solidFill>
                            <a:schemeClr val="accent1"/>
                          </a:solidFill>
                        </a:rPr>
                        <a:t> </a:t>
                      </a:r>
                      <a:r>
                        <a:rPr lang="en-US" sz="1000" b="1" i="1" dirty="0" smtClean="0">
                          <a:solidFill>
                            <a:schemeClr val="accent1"/>
                          </a:solidFill>
                        </a:rPr>
                        <a:t>ES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4"/>
                  </a:ext>
                </a:extLst>
              </a:tr>
              <a:tr h="927729">
                <a:tc>
                  <a:txBody>
                    <a:bodyPr/>
                    <a:lstStyle/>
                    <a:p>
                      <a:r>
                        <a:rPr lang="en-US" sz="1000" b="1" dirty="0" smtClean="0"/>
                        <a:t>MSCI US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i="1" baseline="0" dirty="0" smtClean="0">
                        <a:solidFill>
                          <a:schemeClr val="accent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i="1" baseline="0" dirty="0" smtClean="0">
                          <a:solidFill>
                            <a:schemeClr val="accent1"/>
                          </a:solidFill>
                        </a:rPr>
                        <a:t>vs </a:t>
                      </a:r>
                      <a:r>
                        <a:rPr lang="en-US" sz="1000" b="1" i="1" dirty="0" smtClean="0">
                          <a:solidFill>
                            <a:schemeClr val="accent1"/>
                          </a:solidFill>
                        </a:rPr>
                        <a:t>MSCI USA</a:t>
                      </a:r>
                      <a:r>
                        <a:rPr lang="en-US" sz="1000" b="1" i="1" baseline="0" dirty="0" smtClean="0">
                          <a:solidFill>
                            <a:schemeClr val="accent1"/>
                          </a:solidFill>
                        </a:rPr>
                        <a:t> </a:t>
                      </a:r>
                      <a:r>
                        <a:rPr lang="en-US" sz="1000" b="1" i="1" dirty="0" smtClean="0">
                          <a:solidFill>
                            <a:schemeClr val="accent1"/>
                          </a:solidFill>
                        </a:rPr>
                        <a:t>ESG</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ru-RU" sz="1000" dirty="0"/>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0005"/>
                  </a:ext>
                </a:extLst>
              </a:tr>
            </a:tbl>
          </a:graphicData>
        </a:graphic>
      </p:graphicFrame>
      <p:graphicFrame>
        <p:nvGraphicFramePr>
          <p:cNvPr id="9" name="Chart 3"/>
          <p:cNvGraphicFramePr/>
          <p:nvPr>
            <p:custDataLst>
              <p:tags r:id="rId1"/>
            </p:custDataLst>
            <p:extLst>
              <p:ext uri="{D42A27DB-BD31-4B8C-83A1-F6EECF244321}">
                <p14:modId xmlns:p14="http://schemas.microsoft.com/office/powerpoint/2010/main" val="1809603464"/>
              </p:ext>
            </p:extLst>
          </p:nvPr>
        </p:nvGraphicFramePr>
        <p:xfrm>
          <a:off x="3675002" y="1712820"/>
          <a:ext cx="1504950" cy="717550"/>
        </p:xfrm>
        <a:graphic>
          <a:graphicData uri="http://schemas.openxmlformats.org/drawingml/2006/chart">
            <c:chart xmlns:c="http://schemas.openxmlformats.org/drawingml/2006/chart" xmlns:r="http://schemas.openxmlformats.org/officeDocument/2006/relationships" r:id="rId94"/>
          </a:graphicData>
        </a:graphic>
      </p:graphicFrame>
      <p:cxnSp>
        <p:nvCxnSpPr>
          <p:cNvPr id="10" name="Прямая соединительная линия 9"/>
          <p:cNvCxnSpPr/>
          <p:nvPr>
            <p:custDataLst>
              <p:tags r:id="rId2"/>
            </p:custDataLst>
          </p:nvPr>
        </p:nvCxnSpPr>
        <p:spPr bwMode="auto">
          <a:xfrm>
            <a:off x="4279839" y="1873158"/>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10"/>
          <p:cNvCxnSpPr/>
          <p:nvPr>
            <p:custDataLst>
              <p:tags r:id="rId3"/>
            </p:custDataLst>
          </p:nvPr>
        </p:nvCxnSpPr>
        <p:spPr bwMode="auto">
          <a:xfrm>
            <a:off x="4949764" y="179537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p:cNvCxnSpPr/>
          <p:nvPr>
            <p:custDataLst>
              <p:tags r:id="rId4"/>
            </p:custDataLst>
          </p:nvPr>
        </p:nvCxnSpPr>
        <p:spPr bwMode="auto">
          <a:xfrm flipV="1">
            <a:off x="5097402" y="1792195"/>
            <a:ext cx="0" cy="84138"/>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Текст 2"/>
          <p:cNvSpPr>
            <a:spLocks noGrp="1"/>
          </p:cNvSpPr>
          <p:nvPr>
            <p:custDataLst>
              <p:tags r:id="rId5"/>
            </p:custDataLst>
          </p:nvPr>
        </p:nvSpPr>
        <p:spPr bwMode="gray">
          <a:xfrm>
            <a:off x="3909952" y="1711233"/>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E45426D1-3437-43D9-BFE1-9B71616E1472}" type="datetime'''''''''''''''''''''''''24''''''''.''''''''0''%'''''''''''">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4.0%</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14" name="Текст 2"/>
          <p:cNvSpPr>
            <a:spLocks noGrp="1"/>
          </p:cNvSpPr>
          <p:nvPr>
            <p:custDataLst>
              <p:tags r:id="rId6"/>
            </p:custDataLst>
          </p:nvPr>
        </p:nvSpPr>
        <p:spPr bwMode="gray">
          <a:xfrm>
            <a:off x="4579877" y="1633445"/>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CE6B1523-8514-4236-AA2F-557ECE81D2C3}" type="datetime'''''''''''''''''''''2''''''''4.''''''''1''%'''''">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4.1%</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15" name="Chart 3"/>
          <p:cNvGraphicFramePr/>
          <p:nvPr>
            <p:custDataLst>
              <p:tags r:id="rId7"/>
            </p:custDataLst>
            <p:extLst>
              <p:ext uri="{D42A27DB-BD31-4B8C-83A1-F6EECF244321}">
                <p14:modId xmlns:p14="http://schemas.microsoft.com/office/powerpoint/2010/main" val="3313761947"/>
              </p:ext>
            </p:extLst>
          </p:nvPr>
        </p:nvGraphicFramePr>
        <p:xfrm>
          <a:off x="5403789" y="1712820"/>
          <a:ext cx="1504950" cy="717550"/>
        </p:xfrm>
        <a:graphic>
          <a:graphicData uri="http://schemas.openxmlformats.org/drawingml/2006/chart">
            <c:chart xmlns:c="http://schemas.openxmlformats.org/drawingml/2006/chart" xmlns:r="http://schemas.openxmlformats.org/officeDocument/2006/relationships" r:id="rId95"/>
          </a:graphicData>
        </a:graphic>
      </p:graphicFrame>
      <p:cxnSp>
        <p:nvCxnSpPr>
          <p:cNvPr id="16" name="Прямая соединительная линия 15"/>
          <p:cNvCxnSpPr/>
          <p:nvPr>
            <p:custDataLst>
              <p:tags r:id="rId8"/>
            </p:custDataLst>
          </p:nvPr>
        </p:nvCxnSpPr>
        <p:spPr bwMode="auto">
          <a:xfrm>
            <a:off x="6008627" y="1892208"/>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p:cNvCxnSpPr/>
          <p:nvPr>
            <p:custDataLst>
              <p:tags r:id="rId9"/>
            </p:custDataLst>
          </p:nvPr>
        </p:nvCxnSpPr>
        <p:spPr bwMode="auto">
          <a:xfrm>
            <a:off x="6678552" y="179537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custDataLst>
              <p:tags r:id="rId10"/>
            </p:custDataLst>
          </p:nvPr>
        </p:nvCxnSpPr>
        <p:spPr bwMode="auto">
          <a:xfrm flipV="1">
            <a:off x="6826189" y="1792195"/>
            <a:ext cx="0" cy="103188"/>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Текст 2"/>
          <p:cNvSpPr>
            <a:spLocks noGrp="1"/>
          </p:cNvSpPr>
          <p:nvPr>
            <p:custDataLst>
              <p:tags r:id="rId11"/>
            </p:custDataLst>
          </p:nvPr>
        </p:nvSpPr>
        <p:spPr bwMode="gray">
          <a:xfrm>
            <a:off x="5668903" y="1730283"/>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494A39CF-D95B-4F97-B77E-23B5948BA070}" type="datetime'''''2''.''''''''''''''''''''''''''''''''''''''4''%'''''''''">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4%</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20" name="Текст 2"/>
          <p:cNvSpPr>
            <a:spLocks noGrp="1"/>
          </p:cNvSpPr>
          <p:nvPr>
            <p:custDataLst>
              <p:tags r:id="rId12"/>
            </p:custDataLst>
          </p:nvPr>
        </p:nvSpPr>
        <p:spPr bwMode="gray">
          <a:xfrm>
            <a:off x="6338828" y="1633445"/>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FF8F89EB-9616-4D5E-B879-9E5974518C8D}" type="datetime'2.''''''5''''''''''''''''''%'''''''''''''''">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5%</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21" name="Chart 3"/>
          <p:cNvGraphicFramePr/>
          <p:nvPr>
            <p:custDataLst>
              <p:tags r:id="rId13"/>
            </p:custDataLst>
            <p:extLst>
              <p:ext uri="{D42A27DB-BD31-4B8C-83A1-F6EECF244321}">
                <p14:modId xmlns:p14="http://schemas.microsoft.com/office/powerpoint/2010/main" val="3414551499"/>
              </p:ext>
            </p:extLst>
          </p:nvPr>
        </p:nvGraphicFramePr>
        <p:xfrm>
          <a:off x="7123052" y="1712820"/>
          <a:ext cx="1504950" cy="717550"/>
        </p:xfrm>
        <a:graphic>
          <a:graphicData uri="http://schemas.openxmlformats.org/drawingml/2006/chart">
            <c:chart xmlns:c="http://schemas.openxmlformats.org/drawingml/2006/chart" xmlns:r="http://schemas.openxmlformats.org/officeDocument/2006/relationships" r:id="rId96"/>
          </a:graphicData>
        </a:graphic>
      </p:graphicFrame>
      <p:cxnSp>
        <p:nvCxnSpPr>
          <p:cNvPr id="22" name="Прямая соединительная линия 21"/>
          <p:cNvCxnSpPr/>
          <p:nvPr>
            <p:custDataLst>
              <p:tags r:id="rId14"/>
            </p:custDataLst>
          </p:nvPr>
        </p:nvCxnSpPr>
        <p:spPr bwMode="auto">
          <a:xfrm>
            <a:off x="7727889" y="1795370"/>
            <a:ext cx="29527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22"/>
          <p:cNvCxnSpPr/>
          <p:nvPr>
            <p:custDataLst>
              <p:tags r:id="rId15"/>
            </p:custDataLst>
          </p:nvPr>
        </p:nvCxnSpPr>
        <p:spPr bwMode="auto">
          <a:xfrm>
            <a:off x="8396227" y="1795370"/>
            <a:ext cx="192088"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custDataLst>
              <p:tags r:id="rId16"/>
            </p:custDataLst>
          </p:nvPr>
        </p:nvCxnSpPr>
        <p:spPr bwMode="auto">
          <a:xfrm>
            <a:off x="8397814" y="179537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custDataLst>
              <p:tags r:id="rId17"/>
            </p:custDataLst>
          </p:nvPr>
        </p:nvCxnSpPr>
        <p:spPr bwMode="auto">
          <a:xfrm flipV="1">
            <a:off x="8545452" y="1792195"/>
            <a:ext cx="0" cy="6350"/>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Текст 2"/>
          <p:cNvSpPr>
            <a:spLocks noGrp="1"/>
          </p:cNvSpPr>
          <p:nvPr>
            <p:custDataLst>
              <p:tags r:id="rId18"/>
            </p:custDataLst>
          </p:nvPr>
        </p:nvSpPr>
        <p:spPr bwMode="gray">
          <a:xfrm>
            <a:off x="8054915" y="1633445"/>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75F3CF9A-A2DB-462F-923B-D73887DBE161}" type="datetime'''''''1''''''''''8''''''''''.''''''6''''''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8.6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27" name="Текст 2"/>
          <p:cNvSpPr>
            <a:spLocks noGrp="1"/>
          </p:cNvSpPr>
          <p:nvPr>
            <p:custDataLst>
              <p:tags r:id="rId19"/>
            </p:custDataLst>
          </p:nvPr>
        </p:nvSpPr>
        <p:spPr bwMode="gray">
          <a:xfrm>
            <a:off x="7384990" y="1633445"/>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C806AD4A-5610-440F-92FC-E76241ED0144}" type="datetime'''''''''''''''''''''''''''''1''''''8.''''6''''''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8.6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28" name="Chart 3"/>
          <p:cNvGraphicFramePr/>
          <p:nvPr>
            <p:custDataLst>
              <p:tags r:id="rId20"/>
            </p:custDataLst>
            <p:extLst>
              <p:ext uri="{D42A27DB-BD31-4B8C-83A1-F6EECF244321}">
                <p14:modId xmlns:p14="http://schemas.microsoft.com/office/powerpoint/2010/main" val="440699809"/>
              </p:ext>
            </p:extLst>
          </p:nvPr>
        </p:nvGraphicFramePr>
        <p:xfrm>
          <a:off x="3675002" y="2630395"/>
          <a:ext cx="1504950" cy="717550"/>
        </p:xfrm>
        <a:graphic>
          <a:graphicData uri="http://schemas.openxmlformats.org/drawingml/2006/chart">
            <c:chart xmlns:c="http://schemas.openxmlformats.org/drawingml/2006/chart" xmlns:r="http://schemas.openxmlformats.org/officeDocument/2006/relationships" r:id="rId97"/>
          </a:graphicData>
        </a:graphic>
      </p:graphicFrame>
      <p:cxnSp>
        <p:nvCxnSpPr>
          <p:cNvPr id="29" name="Прямая соединительная линия 28"/>
          <p:cNvCxnSpPr/>
          <p:nvPr>
            <p:custDataLst>
              <p:tags r:id="rId21"/>
            </p:custDataLst>
          </p:nvPr>
        </p:nvCxnSpPr>
        <p:spPr bwMode="auto">
          <a:xfrm>
            <a:off x="4279839" y="2893920"/>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custDataLst>
              <p:tags r:id="rId22"/>
            </p:custDataLst>
          </p:nvPr>
        </p:nvCxnSpPr>
        <p:spPr bwMode="auto">
          <a:xfrm>
            <a:off x="4949764" y="2712945"/>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custDataLst>
              <p:tags r:id="rId23"/>
            </p:custDataLst>
          </p:nvPr>
        </p:nvCxnSpPr>
        <p:spPr bwMode="auto">
          <a:xfrm flipV="1">
            <a:off x="5097402" y="2709770"/>
            <a:ext cx="0" cy="18732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Текст 2"/>
          <p:cNvSpPr>
            <a:spLocks noGrp="1"/>
          </p:cNvSpPr>
          <p:nvPr>
            <p:custDataLst>
              <p:tags r:id="rId24"/>
            </p:custDataLst>
          </p:nvPr>
        </p:nvSpPr>
        <p:spPr bwMode="gray">
          <a:xfrm>
            <a:off x="4579877" y="2551020"/>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955063F7-B183-477B-B51B-1F466004E382}" type="datetime'2''''''''''''''2''''.''''''''''''''''''''''''''8''''%'">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2.8%</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33" name="Текст 2"/>
          <p:cNvSpPr>
            <a:spLocks noGrp="1"/>
          </p:cNvSpPr>
          <p:nvPr>
            <p:custDataLst>
              <p:tags r:id="rId25"/>
            </p:custDataLst>
          </p:nvPr>
        </p:nvSpPr>
        <p:spPr bwMode="gray">
          <a:xfrm>
            <a:off x="3909952" y="2731995"/>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A979170F-4807-4A6C-9DCE-7F371D312E6C}" type="datetime'2''''''''''''''2''''''''''''.''''''''''''4''%'''''">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2.4%</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34" name="Chart 3"/>
          <p:cNvGraphicFramePr/>
          <p:nvPr>
            <p:custDataLst>
              <p:tags r:id="rId26"/>
            </p:custDataLst>
            <p:extLst>
              <p:ext uri="{D42A27DB-BD31-4B8C-83A1-F6EECF244321}">
                <p14:modId xmlns:p14="http://schemas.microsoft.com/office/powerpoint/2010/main" val="2539327581"/>
              </p:ext>
            </p:extLst>
          </p:nvPr>
        </p:nvGraphicFramePr>
        <p:xfrm>
          <a:off x="5403789" y="2630395"/>
          <a:ext cx="1504950" cy="717550"/>
        </p:xfrm>
        <a:graphic>
          <a:graphicData uri="http://schemas.openxmlformats.org/drawingml/2006/chart">
            <c:chart xmlns:c="http://schemas.openxmlformats.org/drawingml/2006/chart" xmlns:r="http://schemas.openxmlformats.org/officeDocument/2006/relationships" r:id="rId98"/>
          </a:graphicData>
        </a:graphic>
      </p:graphicFrame>
      <p:cxnSp>
        <p:nvCxnSpPr>
          <p:cNvPr id="35" name="Прямая соединительная линия 34"/>
          <p:cNvCxnSpPr/>
          <p:nvPr>
            <p:custDataLst>
              <p:tags r:id="rId27"/>
            </p:custDataLst>
          </p:nvPr>
        </p:nvCxnSpPr>
        <p:spPr bwMode="auto">
          <a:xfrm flipV="1">
            <a:off x="6826189" y="2709770"/>
            <a:ext cx="0" cy="26988"/>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custDataLst>
              <p:tags r:id="rId28"/>
            </p:custDataLst>
          </p:nvPr>
        </p:nvCxnSpPr>
        <p:spPr bwMode="auto">
          <a:xfrm>
            <a:off x="6678552" y="2712945"/>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36"/>
          <p:cNvCxnSpPr/>
          <p:nvPr>
            <p:custDataLst>
              <p:tags r:id="rId29"/>
            </p:custDataLst>
          </p:nvPr>
        </p:nvCxnSpPr>
        <p:spPr bwMode="auto">
          <a:xfrm>
            <a:off x="6008627" y="2733583"/>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Текст 2"/>
          <p:cNvSpPr>
            <a:spLocks noGrp="1"/>
          </p:cNvSpPr>
          <p:nvPr>
            <p:custDataLst>
              <p:tags r:id="rId30"/>
            </p:custDataLst>
          </p:nvPr>
        </p:nvSpPr>
        <p:spPr bwMode="gray">
          <a:xfrm>
            <a:off x="5668903" y="2571658"/>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A3053AF1-CA6D-4A01-A6FF-A4B9F3855A53}" type="datetime'''''''''''''''''''''''''2.''''''''4%'">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4%</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39" name="Текст 2"/>
          <p:cNvSpPr>
            <a:spLocks noGrp="1"/>
          </p:cNvSpPr>
          <p:nvPr>
            <p:custDataLst>
              <p:tags r:id="rId31"/>
            </p:custDataLst>
          </p:nvPr>
        </p:nvSpPr>
        <p:spPr bwMode="gray">
          <a:xfrm>
            <a:off x="6338828" y="2551020"/>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2258B986-9245-4BFF-9D12-937320B5BFD7}" type="datetime'2''''''''''''''''''''''''''''''''''''''''''''''''''''''.4''%'">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4%</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40" name="Chart 3"/>
          <p:cNvGraphicFramePr/>
          <p:nvPr>
            <p:custDataLst>
              <p:tags r:id="rId32"/>
            </p:custDataLst>
            <p:extLst>
              <p:ext uri="{D42A27DB-BD31-4B8C-83A1-F6EECF244321}">
                <p14:modId xmlns:p14="http://schemas.microsoft.com/office/powerpoint/2010/main" val="3251696644"/>
              </p:ext>
            </p:extLst>
          </p:nvPr>
        </p:nvGraphicFramePr>
        <p:xfrm>
          <a:off x="7123052" y="2630395"/>
          <a:ext cx="1504950" cy="717550"/>
        </p:xfrm>
        <a:graphic>
          <a:graphicData uri="http://schemas.openxmlformats.org/drawingml/2006/chart">
            <c:chart xmlns:c="http://schemas.openxmlformats.org/drawingml/2006/chart" xmlns:r="http://schemas.openxmlformats.org/officeDocument/2006/relationships" r:id="rId99"/>
          </a:graphicData>
        </a:graphic>
      </p:graphicFrame>
      <p:cxnSp>
        <p:nvCxnSpPr>
          <p:cNvPr id="41" name="Прямая соединительная линия 40"/>
          <p:cNvCxnSpPr/>
          <p:nvPr>
            <p:custDataLst>
              <p:tags r:id="rId33"/>
            </p:custDataLst>
          </p:nvPr>
        </p:nvCxnSpPr>
        <p:spPr bwMode="auto">
          <a:xfrm>
            <a:off x="8397814" y="2744695"/>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41"/>
          <p:cNvCxnSpPr/>
          <p:nvPr>
            <p:custDataLst>
              <p:tags r:id="rId34"/>
            </p:custDataLst>
          </p:nvPr>
        </p:nvCxnSpPr>
        <p:spPr bwMode="auto">
          <a:xfrm>
            <a:off x="7727889" y="2712945"/>
            <a:ext cx="317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42"/>
          <p:cNvCxnSpPr/>
          <p:nvPr>
            <p:custDataLst>
              <p:tags r:id="rId35"/>
            </p:custDataLst>
          </p:nvPr>
        </p:nvCxnSpPr>
        <p:spPr bwMode="auto">
          <a:xfrm>
            <a:off x="8374002" y="2712945"/>
            <a:ext cx="214312"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43"/>
          <p:cNvCxnSpPr/>
          <p:nvPr>
            <p:custDataLst>
              <p:tags r:id="rId36"/>
            </p:custDataLst>
          </p:nvPr>
        </p:nvCxnSpPr>
        <p:spPr bwMode="auto">
          <a:xfrm>
            <a:off x="8545452" y="2709770"/>
            <a:ext cx="0" cy="38100"/>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Текст 2"/>
          <p:cNvSpPr>
            <a:spLocks noGrp="1"/>
          </p:cNvSpPr>
          <p:nvPr>
            <p:custDataLst>
              <p:tags r:id="rId37"/>
            </p:custDataLst>
          </p:nvPr>
        </p:nvSpPr>
        <p:spPr bwMode="gray">
          <a:xfrm>
            <a:off x="8054915" y="2582770"/>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BF1E2E8A-6A08-49AE-B666-BCEF5B645658}" type="datetime'''''''''''''''''''''1''''''9''''''.''3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9.3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46" name="Текст 2"/>
          <p:cNvSpPr>
            <a:spLocks noGrp="1"/>
          </p:cNvSpPr>
          <p:nvPr>
            <p:custDataLst>
              <p:tags r:id="rId38"/>
            </p:custDataLst>
          </p:nvPr>
        </p:nvSpPr>
        <p:spPr bwMode="gray">
          <a:xfrm>
            <a:off x="7384990" y="2551020"/>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7F250F67-35E1-4EBB-8BDD-7D93567135BA}" type="datetime'''''''''''''''1''9''''''''.5''''''''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9.5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47" name="Chart 3"/>
          <p:cNvGraphicFramePr/>
          <p:nvPr>
            <p:custDataLst>
              <p:tags r:id="rId39"/>
            </p:custDataLst>
            <p:extLst>
              <p:ext uri="{D42A27DB-BD31-4B8C-83A1-F6EECF244321}">
                <p14:modId xmlns:p14="http://schemas.microsoft.com/office/powerpoint/2010/main" val="2084879497"/>
              </p:ext>
            </p:extLst>
          </p:nvPr>
        </p:nvGraphicFramePr>
        <p:xfrm>
          <a:off x="3675002" y="3547970"/>
          <a:ext cx="1504950" cy="717550"/>
        </p:xfrm>
        <a:graphic>
          <a:graphicData uri="http://schemas.openxmlformats.org/drawingml/2006/chart">
            <c:chart xmlns:c="http://schemas.openxmlformats.org/drawingml/2006/chart" xmlns:r="http://schemas.openxmlformats.org/officeDocument/2006/relationships" r:id="rId100"/>
          </a:graphicData>
        </a:graphic>
      </p:graphicFrame>
      <p:cxnSp>
        <p:nvCxnSpPr>
          <p:cNvPr id="48" name="Прямая соединительная линия 47"/>
          <p:cNvCxnSpPr/>
          <p:nvPr>
            <p:custDataLst>
              <p:tags r:id="rId40"/>
            </p:custDataLst>
          </p:nvPr>
        </p:nvCxnSpPr>
        <p:spPr bwMode="auto">
          <a:xfrm>
            <a:off x="4279839" y="3703545"/>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custDataLst>
              <p:tags r:id="rId41"/>
            </p:custDataLst>
          </p:nvPr>
        </p:nvCxnSpPr>
        <p:spPr bwMode="auto">
          <a:xfrm>
            <a:off x="4949764" y="363052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custDataLst>
              <p:tags r:id="rId42"/>
            </p:custDataLst>
          </p:nvPr>
        </p:nvCxnSpPr>
        <p:spPr bwMode="auto">
          <a:xfrm flipV="1">
            <a:off x="5097402" y="3627345"/>
            <a:ext cx="0" cy="7937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Текст 2"/>
          <p:cNvSpPr>
            <a:spLocks noGrp="1"/>
          </p:cNvSpPr>
          <p:nvPr>
            <p:custDataLst>
              <p:tags r:id="rId43"/>
            </p:custDataLst>
          </p:nvPr>
        </p:nvSpPr>
        <p:spPr bwMode="gray">
          <a:xfrm>
            <a:off x="3909952" y="3541620"/>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5D8F5A5E-D0E6-45EF-8467-3C9D8E81BA1D}" type="datetime'3''''7.''''''''''''''''3''''''''%'''''''''''''''''''''''">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37.3%</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52" name="Текст 2"/>
          <p:cNvSpPr>
            <a:spLocks noGrp="1"/>
          </p:cNvSpPr>
          <p:nvPr>
            <p:custDataLst>
              <p:tags r:id="rId44"/>
            </p:custDataLst>
          </p:nvPr>
        </p:nvSpPr>
        <p:spPr bwMode="gray">
          <a:xfrm>
            <a:off x="4579877" y="3468595"/>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78CA5A63-F1B0-4F4D-8179-C1E90C60583C}" type="datetime'3''''''''''''''''''''''''7.''''''''''''''''''''5''''%'''''">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37.5%</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53" name="Chart 3"/>
          <p:cNvGraphicFramePr/>
          <p:nvPr>
            <p:custDataLst>
              <p:tags r:id="rId45"/>
            </p:custDataLst>
            <p:extLst>
              <p:ext uri="{D42A27DB-BD31-4B8C-83A1-F6EECF244321}">
                <p14:modId xmlns:p14="http://schemas.microsoft.com/office/powerpoint/2010/main" val="2613003579"/>
              </p:ext>
            </p:extLst>
          </p:nvPr>
        </p:nvGraphicFramePr>
        <p:xfrm>
          <a:off x="5403789" y="3547970"/>
          <a:ext cx="1504950" cy="717550"/>
        </p:xfrm>
        <a:graphic>
          <a:graphicData uri="http://schemas.openxmlformats.org/drawingml/2006/chart">
            <c:chart xmlns:c="http://schemas.openxmlformats.org/drawingml/2006/chart" xmlns:r="http://schemas.openxmlformats.org/officeDocument/2006/relationships" r:id="rId101"/>
          </a:graphicData>
        </a:graphic>
      </p:graphicFrame>
      <p:cxnSp>
        <p:nvCxnSpPr>
          <p:cNvPr id="54" name="Прямая соединительная линия 53"/>
          <p:cNvCxnSpPr/>
          <p:nvPr>
            <p:custDataLst>
              <p:tags r:id="rId46"/>
            </p:custDataLst>
          </p:nvPr>
        </p:nvCxnSpPr>
        <p:spPr bwMode="auto">
          <a:xfrm flipV="1">
            <a:off x="6826189" y="3627345"/>
            <a:ext cx="0" cy="31750"/>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Прямая соединительная линия 54"/>
          <p:cNvCxnSpPr/>
          <p:nvPr>
            <p:custDataLst>
              <p:tags r:id="rId47"/>
            </p:custDataLst>
          </p:nvPr>
        </p:nvCxnSpPr>
        <p:spPr bwMode="auto">
          <a:xfrm>
            <a:off x="6008627" y="3655920"/>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55"/>
          <p:cNvCxnSpPr/>
          <p:nvPr>
            <p:custDataLst>
              <p:tags r:id="rId48"/>
            </p:custDataLst>
          </p:nvPr>
        </p:nvCxnSpPr>
        <p:spPr bwMode="auto">
          <a:xfrm>
            <a:off x="6678552" y="363052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Текст 2"/>
          <p:cNvSpPr>
            <a:spLocks noGrp="1"/>
          </p:cNvSpPr>
          <p:nvPr>
            <p:custDataLst>
              <p:tags r:id="rId49"/>
            </p:custDataLst>
          </p:nvPr>
        </p:nvSpPr>
        <p:spPr bwMode="gray">
          <a:xfrm>
            <a:off x="6338828" y="3468595"/>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763BF047-351C-4B22-BEF6-D148E1ED92A2}" type="datetime'2''''''''''''''''.''''''''''''''''8''''''''''''%'''''''">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8%</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58" name="Текст 2"/>
          <p:cNvSpPr>
            <a:spLocks noGrp="1"/>
          </p:cNvSpPr>
          <p:nvPr>
            <p:custDataLst>
              <p:tags r:id="rId50"/>
            </p:custDataLst>
          </p:nvPr>
        </p:nvSpPr>
        <p:spPr bwMode="gray">
          <a:xfrm>
            <a:off x="5668903" y="3493995"/>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6D09B2A7-9CD1-432C-8738-B87F1EC94976}" type="datetime'''''2''''''''''.''6''''''''''''''''''''''''''''''%'''''''''''">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6%</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59" name="Chart 3"/>
          <p:cNvGraphicFramePr/>
          <p:nvPr>
            <p:custDataLst>
              <p:tags r:id="rId51"/>
            </p:custDataLst>
            <p:extLst>
              <p:ext uri="{D42A27DB-BD31-4B8C-83A1-F6EECF244321}">
                <p14:modId xmlns:p14="http://schemas.microsoft.com/office/powerpoint/2010/main" val="3090160170"/>
              </p:ext>
            </p:extLst>
          </p:nvPr>
        </p:nvGraphicFramePr>
        <p:xfrm>
          <a:off x="7123052" y="3547970"/>
          <a:ext cx="1504950" cy="717550"/>
        </p:xfrm>
        <a:graphic>
          <a:graphicData uri="http://schemas.openxmlformats.org/drawingml/2006/chart">
            <c:chart xmlns:c="http://schemas.openxmlformats.org/drawingml/2006/chart" xmlns:r="http://schemas.openxmlformats.org/officeDocument/2006/relationships" r:id="rId102"/>
          </a:graphicData>
        </a:graphic>
      </p:graphicFrame>
      <p:cxnSp>
        <p:nvCxnSpPr>
          <p:cNvPr id="60" name="Прямая соединительная линия 59"/>
          <p:cNvCxnSpPr/>
          <p:nvPr>
            <p:custDataLst>
              <p:tags r:id="rId52"/>
            </p:custDataLst>
          </p:nvPr>
        </p:nvCxnSpPr>
        <p:spPr bwMode="auto">
          <a:xfrm>
            <a:off x="7727889" y="3630520"/>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Прямая соединительная линия 60"/>
          <p:cNvCxnSpPr/>
          <p:nvPr>
            <p:custDataLst>
              <p:tags r:id="rId53"/>
            </p:custDataLst>
          </p:nvPr>
        </p:nvCxnSpPr>
        <p:spPr bwMode="auto">
          <a:xfrm>
            <a:off x="8397814" y="383372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61"/>
          <p:cNvCxnSpPr/>
          <p:nvPr>
            <p:custDataLst>
              <p:tags r:id="rId54"/>
            </p:custDataLst>
          </p:nvPr>
        </p:nvCxnSpPr>
        <p:spPr bwMode="auto">
          <a:xfrm>
            <a:off x="8545452" y="3627345"/>
            <a:ext cx="0" cy="209550"/>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Текст 2"/>
          <p:cNvSpPr>
            <a:spLocks noGrp="1"/>
          </p:cNvSpPr>
          <p:nvPr>
            <p:custDataLst>
              <p:tags r:id="rId55"/>
            </p:custDataLst>
          </p:nvPr>
        </p:nvSpPr>
        <p:spPr bwMode="gray">
          <a:xfrm>
            <a:off x="7384990" y="3468595"/>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3BDEB03F-6A14-4F39-8838-C435E98A4E56}" type="datetime'1''''''''''''''''''''3''''''''''''''.''''''8''''''''''''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3.8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64" name="Текст 2"/>
          <p:cNvSpPr>
            <a:spLocks noGrp="1"/>
          </p:cNvSpPr>
          <p:nvPr>
            <p:custDataLst>
              <p:tags r:id="rId56"/>
            </p:custDataLst>
          </p:nvPr>
        </p:nvSpPr>
        <p:spPr bwMode="gray">
          <a:xfrm>
            <a:off x="8054915" y="3671795"/>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848F0AC0-2C4A-457B-839F-D3EA00FA26ED}" type="datetime'''''''''''''''''''''''1''3''''''''''''.''''''''3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3.3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65" name="Chart 3"/>
          <p:cNvGraphicFramePr/>
          <p:nvPr>
            <p:custDataLst>
              <p:tags r:id="rId57"/>
            </p:custDataLst>
            <p:extLst>
              <p:ext uri="{D42A27DB-BD31-4B8C-83A1-F6EECF244321}">
                <p14:modId xmlns:p14="http://schemas.microsoft.com/office/powerpoint/2010/main" val="1825443711"/>
              </p:ext>
            </p:extLst>
          </p:nvPr>
        </p:nvGraphicFramePr>
        <p:xfrm>
          <a:off x="3675002" y="4465545"/>
          <a:ext cx="1504950" cy="717550"/>
        </p:xfrm>
        <a:graphic>
          <a:graphicData uri="http://schemas.openxmlformats.org/drawingml/2006/chart">
            <c:chart xmlns:c="http://schemas.openxmlformats.org/drawingml/2006/chart" xmlns:r="http://schemas.openxmlformats.org/officeDocument/2006/relationships" r:id="rId103"/>
          </a:graphicData>
        </a:graphic>
      </p:graphicFrame>
      <p:cxnSp>
        <p:nvCxnSpPr>
          <p:cNvPr id="66" name="Прямая соединительная линия 65"/>
          <p:cNvCxnSpPr/>
          <p:nvPr>
            <p:custDataLst>
              <p:tags r:id="rId58"/>
            </p:custDataLst>
          </p:nvPr>
        </p:nvCxnSpPr>
        <p:spPr bwMode="auto">
          <a:xfrm>
            <a:off x="4279839" y="4684620"/>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66"/>
          <p:cNvCxnSpPr/>
          <p:nvPr>
            <p:custDataLst>
              <p:tags r:id="rId59"/>
            </p:custDataLst>
          </p:nvPr>
        </p:nvCxnSpPr>
        <p:spPr bwMode="auto">
          <a:xfrm>
            <a:off x="4949764" y="4548095"/>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Прямая соединительная линия 67"/>
          <p:cNvCxnSpPr/>
          <p:nvPr>
            <p:custDataLst>
              <p:tags r:id="rId60"/>
            </p:custDataLst>
          </p:nvPr>
        </p:nvCxnSpPr>
        <p:spPr bwMode="auto">
          <a:xfrm flipV="1">
            <a:off x="5097402" y="4544920"/>
            <a:ext cx="0" cy="14287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9" name="Текст 2"/>
          <p:cNvSpPr>
            <a:spLocks noGrp="1"/>
          </p:cNvSpPr>
          <p:nvPr>
            <p:custDataLst>
              <p:tags r:id="rId61"/>
            </p:custDataLst>
          </p:nvPr>
        </p:nvSpPr>
        <p:spPr bwMode="gray">
          <a:xfrm>
            <a:off x="3909952" y="4522695"/>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8724FC3A-776F-4D90-83CB-C7249CAE53C3}" type="datetime'2''''''''''''5''''''''''''''''''''''.''5''''''''%'''">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5.5%</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70" name="Текст 2"/>
          <p:cNvSpPr>
            <a:spLocks noGrp="1"/>
          </p:cNvSpPr>
          <p:nvPr>
            <p:custDataLst>
              <p:tags r:id="rId62"/>
            </p:custDataLst>
          </p:nvPr>
        </p:nvSpPr>
        <p:spPr bwMode="gray">
          <a:xfrm>
            <a:off x="4579877" y="4386170"/>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300EC889-AEDD-463A-A1F9-87A09519F3F0}" type="datetime'25''''''''.''''8''''%'''''''''''''''''''''''''''''''''''''''''">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5.8%</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71" name="Chart 3"/>
          <p:cNvGraphicFramePr/>
          <p:nvPr>
            <p:custDataLst>
              <p:tags r:id="rId63"/>
            </p:custDataLst>
            <p:extLst>
              <p:ext uri="{D42A27DB-BD31-4B8C-83A1-F6EECF244321}">
                <p14:modId xmlns:p14="http://schemas.microsoft.com/office/powerpoint/2010/main" val="3183734313"/>
              </p:ext>
            </p:extLst>
          </p:nvPr>
        </p:nvGraphicFramePr>
        <p:xfrm>
          <a:off x="5403789" y="4465545"/>
          <a:ext cx="1504950" cy="717550"/>
        </p:xfrm>
        <a:graphic>
          <a:graphicData uri="http://schemas.openxmlformats.org/drawingml/2006/chart">
            <c:chart xmlns:c="http://schemas.openxmlformats.org/drawingml/2006/chart" xmlns:r="http://schemas.openxmlformats.org/officeDocument/2006/relationships" r:id="rId104"/>
          </a:graphicData>
        </a:graphic>
      </p:graphicFrame>
      <p:cxnSp>
        <p:nvCxnSpPr>
          <p:cNvPr id="72" name="Прямая соединительная линия 71"/>
          <p:cNvCxnSpPr/>
          <p:nvPr>
            <p:custDataLst>
              <p:tags r:id="rId64"/>
            </p:custDataLst>
          </p:nvPr>
        </p:nvCxnSpPr>
        <p:spPr bwMode="auto">
          <a:xfrm>
            <a:off x="6678552" y="4563970"/>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Прямая соединительная линия 72"/>
          <p:cNvCxnSpPr/>
          <p:nvPr>
            <p:custDataLst>
              <p:tags r:id="rId65"/>
            </p:custDataLst>
          </p:nvPr>
        </p:nvCxnSpPr>
        <p:spPr bwMode="auto">
          <a:xfrm>
            <a:off x="6008627" y="4548095"/>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Прямая соединительная линия 73"/>
          <p:cNvCxnSpPr/>
          <p:nvPr>
            <p:custDataLst>
              <p:tags r:id="rId66"/>
            </p:custDataLst>
          </p:nvPr>
        </p:nvCxnSpPr>
        <p:spPr bwMode="auto">
          <a:xfrm>
            <a:off x="6826189" y="4544920"/>
            <a:ext cx="0" cy="2222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Текст 2"/>
          <p:cNvSpPr>
            <a:spLocks noGrp="1"/>
          </p:cNvSpPr>
          <p:nvPr>
            <p:custDataLst>
              <p:tags r:id="rId67"/>
            </p:custDataLst>
          </p:nvPr>
        </p:nvSpPr>
        <p:spPr bwMode="gray">
          <a:xfrm>
            <a:off x="5668903" y="4386170"/>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32D9D271-9FF2-4F7D-B4F0-20A27A37573C}" type="datetime'3''.''''''''''''5''''''''''%'''''''''''''''''''''''''''">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3.5%</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76" name="Текст 2"/>
          <p:cNvSpPr>
            <a:spLocks noGrp="1"/>
          </p:cNvSpPr>
          <p:nvPr>
            <p:custDataLst>
              <p:tags r:id="rId68"/>
            </p:custDataLst>
          </p:nvPr>
        </p:nvSpPr>
        <p:spPr bwMode="gray">
          <a:xfrm>
            <a:off x="6338828" y="4402045"/>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132B6C37-61BE-4D18-9850-0AF460F72D45}" type="datetime'''''3''''''.4''''''''''''''%'''''''''''''''">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3.4%</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77" name="Chart 3"/>
          <p:cNvGraphicFramePr/>
          <p:nvPr>
            <p:custDataLst>
              <p:tags r:id="rId69"/>
            </p:custDataLst>
            <p:extLst>
              <p:ext uri="{D42A27DB-BD31-4B8C-83A1-F6EECF244321}">
                <p14:modId xmlns:p14="http://schemas.microsoft.com/office/powerpoint/2010/main" val="3680345535"/>
              </p:ext>
            </p:extLst>
          </p:nvPr>
        </p:nvGraphicFramePr>
        <p:xfrm>
          <a:off x="7123052" y="4465545"/>
          <a:ext cx="1504950" cy="717550"/>
        </p:xfrm>
        <a:graphic>
          <a:graphicData uri="http://schemas.openxmlformats.org/drawingml/2006/chart">
            <c:chart xmlns:c="http://schemas.openxmlformats.org/drawingml/2006/chart" xmlns:r="http://schemas.openxmlformats.org/officeDocument/2006/relationships" r:id="rId105"/>
          </a:graphicData>
        </a:graphic>
      </p:graphicFrame>
      <p:cxnSp>
        <p:nvCxnSpPr>
          <p:cNvPr id="78" name="Прямая соединительная линия 77"/>
          <p:cNvCxnSpPr/>
          <p:nvPr>
            <p:custDataLst>
              <p:tags r:id="rId70"/>
            </p:custDataLst>
          </p:nvPr>
        </p:nvCxnSpPr>
        <p:spPr bwMode="auto">
          <a:xfrm>
            <a:off x="8397814" y="4548095"/>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custDataLst>
              <p:tags r:id="rId71"/>
            </p:custDataLst>
          </p:nvPr>
        </p:nvCxnSpPr>
        <p:spPr bwMode="auto">
          <a:xfrm>
            <a:off x="7727889" y="4597308"/>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custDataLst>
              <p:tags r:id="rId72"/>
            </p:custDataLst>
          </p:nvPr>
        </p:nvCxnSpPr>
        <p:spPr bwMode="auto">
          <a:xfrm flipV="1">
            <a:off x="8545452" y="4544920"/>
            <a:ext cx="0" cy="55563"/>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Текст 2"/>
          <p:cNvSpPr>
            <a:spLocks noGrp="1"/>
          </p:cNvSpPr>
          <p:nvPr>
            <p:custDataLst>
              <p:tags r:id="rId73"/>
            </p:custDataLst>
          </p:nvPr>
        </p:nvSpPr>
        <p:spPr bwMode="gray">
          <a:xfrm>
            <a:off x="8054915" y="4386170"/>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6CB8A665-EAE0-40F9-8F80-FC9C5537A479}" type="datetime'1''''''''''6.''''''''''''9''''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6.9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82" name="Текст 2"/>
          <p:cNvSpPr>
            <a:spLocks noGrp="1"/>
          </p:cNvSpPr>
          <p:nvPr>
            <p:custDataLst>
              <p:tags r:id="rId74"/>
            </p:custDataLst>
          </p:nvPr>
        </p:nvSpPr>
        <p:spPr bwMode="gray">
          <a:xfrm>
            <a:off x="7384990" y="4435383"/>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C2F9A2FF-5BEF-4007-BE25-C176D76268E0}" type="datetime'''''''''''''''''''16''.''''''''''''''7''''''''''''''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6.7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83" name="Chart 3"/>
          <p:cNvGraphicFramePr/>
          <p:nvPr>
            <p:custDataLst>
              <p:tags r:id="rId75"/>
            </p:custDataLst>
            <p:extLst>
              <p:ext uri="{D42A27DB-BD31-4B8C-83A1-F6EECF244321}">
                <p14:modId xmlns:p14="http://schemas.microsoft.com/office/powerpoint/2010/main" val="2761035744"/>
              </p:ext>
            </p:extLst>
          </p:nvPr>
        </p:nvGraphicFramePr>
        <p:xfrm>
          <a:off x="3675002" y="5372008"/>
          <a:ext cx="1504950" cy="717550"/>
        </p:xfrm>
        <a:graphic>
          <a:graphicData uri="http://schemas.openxmlformats.org/drawingml/2006/chart">
            <c:chart xmlns:c="http://schemas.openxmlformats.org/drawingml/2006/chart" xmlns:r="http://schemas.openxmlformats.org/officeDocument/2006/relationships" r:id="rId106"/>
          </a:graphicData>
        </a:graphic>
      </p:graphicFrame>
      <p:cxnSp>
        <p:nvCxnSpPr>
          <p:cNvPr id="84" name="Прямая соединительная линия 83"/>
          <p:cNvCxnSpPr/>
          <p:nvPr>
            <p:custDataLst>
              <p:tags r:id="rId76"/>
            </p:custDataLst>
          </p:nvPr>
        </p:nvCxnSpPr>
        <p:spPr bwMode="auto">
          <a:xfrm>
            <a:off x="4279839" y="5583145"/>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Прямая соединительная линия 84"/>
          <p:cNvCxnSpPr/>
          <p:nvPr>
            <p:custDataLst>
              <p:tags r:id="rId77"/>
            </p:custDataLst>
          </p:nvPr>
        </p:nvCxnSpPr>
        <p:spPr bwMode="auto">
          <a:xfrm>
            <a:off x="4949764" y="5454558"/>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Прямая соединительная линия 85"/>
          <p:cNvCxnSpPr/>
          <p:nvPr>
            <p:custDataLst>
              <p:tags r:id="rId78"/>
            </p:custDataLst>
          </p:nvPr>
        </p:nvCxnSpPr>
        <p:spPr bwMode="auto">
          <a:xfrm flipV="1">
            <a:off x="5097402" y="5451383"/>
            <a:ext cx="0" cy="134938"/>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7" name="Текст 2"/>
          <p:cNvSpPr>
            <a:spLocks noGrp="1"/>
          </p:cNvSpPr>
          <p:nvPr>
            <p:custDataLst>
              <p:tags r:id="rId79"/>
            </p:custDataLst>
          </p:nvPr>
        </p:nvSpPr>
        <p:spPr bwMode="gray">
          <a:xfrm>
            <a:off x="4579877" y="5292633"/>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ED8822D8-D698-417E-A656-CA503911EE1C}" type="datetime'''''''''''''''''21''''''.''''''''''''''''''7''''''%'''''''''''">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1.7%</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88" name="Текст 2"/>
          <p:cNvSpPr>
            <a:spLocks noGrp="1"/>
          </p:cNvSpPr>
          <p:nvPr>
            <p:custDataLst>
              <p:tags r:id="rId80"/>
            </p:custDataLst>
          </p:nvPr>
        </p:nvSpPr>
        <p:spPr bwMode="gray">
          <a:xfrm>
            <a:off x="3909952" y="5421220"/>
            <a:ext cx="363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197E5F45-0FF8-4DEB-A27C-66D6BFD48F7D}" type="datetime'''''''''''''''''''''''''''''21''''''''.''''''''''''''''2%'''">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1.2%</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89" name="Chart 3"/>
          <p:cNvGraphicFramePr/>
          <p:nvPr>
            <p:custDataLst>
              <p:tags r:id="rId81"/>
            </p:custDataLst>
            <p:extLst>
              <p:ext uri="{D42A27DB-BD31-4B8C-83A1-F6EECF244321}">
                <p14:modId xmlns:p14="http://schemas.microsoft.com/office/powerpoint/2010/main" val="1134831876"/>
              </p:ext>
            </p:extLst>
          </p:nvPr>
        </p:nvGraphicFramePr>
        <p:xfrm>
          <a:off x="5403789" y="5372008"/>
          <a:ext cx="1504950" cy="717550"/>
        </p:xfrm>
        <a:graphic>
          <a:graphicData uri="http://schemas.openxmlformats.org/drawingml/2006/chart">
            <c:chart xmlns:c="http://schemas.openxmlformats.org/drawingml/2006/chart" xmlns:r="http://schemas.openxmlformats.org/officeDocument/2006/relationships" r:id="rId107"/>
          </a:graphicData>
        </a:graphic>
      </p:graphicFrame>
      <p:cxnSp>
        <p:nvCxnSpPr>
          <p:cNvPr id="90" name="Прямая соединительная линия 89"/>
          <p:cNvCxnSpPr/>
          <p:nvPr>
            <p:custDataLst>
              <p:tags r:id="rId82"/>
            </p:custDataLst>
          </p:nvPr>
        </p:nvCxnSpPr>
        <p:spPr bwMode="auto">
          <a:xfrm>
            <a:off x="6008627" y="5499008"/>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Прямая соединительная линия 90"/>
          <p:cNvCxnSpPr/>
          <p:nvPr>
            <p:custDataLst>
              <p:tags r:id="rId83"/>
            </p:custDataLst>
          </p:nvPr>
        </p:nvCxnSpPr>
        <p:spPr bwMode="auto">
          <a:xfrm>
            <a:off x="6678552" y="5454558"/>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Прямая соединительная линия 91"/>
          <p:cNvCxnSpPr/>
          <p:nvPr>
            <p:custDataLst>
              <p:tags r:id="rId84"/>
            </p:custDataLst>
          </p:nvPr>
        </p:nvCxnSpPr>
        <p:spPr bwMode="auto">
          <a:xfrm flipV="1">
            <a:off x="6826189" y="5451383"/>
            <a:ext cx="0" cy="50800"/>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3" name="Текст 2"/>
          <p:cNvSpPr>
            <a:spLocks noGrp="1"/>
          </p:cNvSpPr>
          <p:nvPr>
            <p:custDataLst>
              <p:tags r:id="rId85"/>
            </p:custDataLst>
          </p:nvPr>
        </p:nvSpPr>
        <p:spPr bwMode="gray">
          <a:xfrm>
            <a:off x="5668903" y="5337083"/>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9D53999B-5CA8-409E-8795-C0663586A5DC}" type="datetime'''''''''''''''''''''''1.''''''''8''''%'''''''''''''''''''''''">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8%</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94" name="Текст 2"/>
          <p:cNvSpPr>
            <a:spLocks noGrp="1"/>
          </p:cNvSpPr>
          <p:nvPr>
            <p:custDataLst>
              <p:tags r:id="rId86"/>
            </p:custDataLst>
          </p:nvPr>
        </p:nvSpPr>
        <p:spPr bwMode="gray">
          <a:xfrm>
            <a:off x="6338828" y="5292633"/>
            <a:ext cx="3016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AE6BF4B0-642C-4CFC-90CE-6A98CCF0BCB7}" type="datetime'''''''''''''1''''''''''.''9''''%'''''''''''">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1.9%</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graphicFrame>
        <p:nvGraphicFramePr>
          <p:cNvPr id="95" name="Chart 3"/>
          <p:cNvGraphicFramePr/>
          <p:nvPr>
            <p:custDataLst>
              <p:tags r:id="rId87"/>
            </p:custDataLst>
            <p:extLst>
              <p:ext uri="{D42A27DB-BD31-4B8C-83A1-F6EECF244321}">
                <p14:modId xmlns:p14="http://schemas.microsoft.com/office/powerpoint/2010/main" val="1588928967"/>
              </p:ext>
            </p:extLst>
          </p:nvPr>
        </p:nvGraphicFramePr>
        <p:xfrm>
          <a:off x="7123052" y="5372008"/>
          <a:ext cx="1504950" cy="717550"/>
        </p:xfrm>
        <a:graphic>
          <a:graphicData uri="http://schemas.openxmlformats.org/drawingml/2006/chart">
            <c:chart xmlns:c="http://schemas.openxmlformats.org/drawingml/2006/chart" xmlns:r="http://schemas.openxmlformats.org/officeDocument/2006/relationships" r:id="rId108"/>
          </a:graphicData>
        </a:graphic>
      </p:graphicFrame>
      <p:cxnSp>
        <p:nvCxnSpPr>
          <p:cNvPr id="96" name="Прямая соединительная линия 95"/>
          <p:cNvCxnSpPr/>
          <p:nvPr>
            <p:custDataLst>
              <p:tags r:id="rId88"/>
            </p:custDataLst>
          </p:nvPr>
        </p:nvCxnSpPr>
        <p:spPr bwMode="auto">
          <a:xfrm flipV="1">
            <a:off x="8545452" y="5451382"/>
            <a:ext cx="0" cy="88900"/>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Прямая соединительная линия 96"/>
          <p:cNvCxnSpPr/>
          <p:nvPr>
            <p:custDataLst>
              <p:tags r:id="rId89"/>
            </p:custDataLst>
          </p:nvPr>
        </p:nvCxnSpPr>
        <p:spPr bwMode="auto">
          <a:xfrm>
            <a:off x="7727889" y="5537108"/>
            <a:ext cx="860425"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Прямая соединительная линия 97"/>
          <p:cNvCxnSpPr/>
          <p:nvPr>
            <p:custDataLst>
              <p:tags r:id="rId90"/>
            </p:custDataLst>
          </p:nvPr>
        </p:nvCxnSpPr>
        <p:spPr bwMode="auto">
          <a:xfrm>
            <a:off x="8397814" y="5454558"/>
            <a:ext cx="190500" cy="0"/>
          </a:xfrm>
          <a:prstGeom prst="line">
            <a:avLst/>
          </a:prstGeom>
          <a:ln w="6350" cap="flat" cmpd="sng" algn="ctr">
            <a:solidFill>
              <a:schemeClr val="tx1"/>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9" name="Текст 2"/>
          <p:cNvSpPr>
            <a:spLocks noGrp="1"/>
          </p:cNvSpPr>
          <p:nvPr>
            <p:custDataLst>
              <p:tags r:id="rId91"/>
            </p:custDataLst>
          </p:nvPr>
        </p:nvSpPr>
        <p:spPr bwMode="gray">
          <a:xfrm>
            <a:off x="7384990" y="5375183"/>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9EBE290C-ACCE-4798-8A50-BEDFB362FC76}" type="datetime'''''''''''''2''''2''''''.''''''''''''8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2.8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
        <p:nvSpPr>
          <p:cNvPr id="100" name="Текст 2"/>
          <p:cNvSpPr>
            <a:spLocks noGrp="1"/>
          </p:cNvSpPr>
          <p:nvPr>
            <p:custDataLst>
              <p:tags r:id="rId92"/>
            </p:custDataLst>
          </p:nvPr>
        </p:nvSpPr>
        <p:spPr bwMode="gray">
          <a:xfrm>
            <a:off x="8054915" y="5292633"/>
            <a:ext cx="3095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fld id="{17471301-0233-4BF9-950C-9DAECA64EFE4}" type="datetime'''''''''''''2''''3.''''''''''''''''''''''1''''''''''''''x'">
              <a:rPr kumimoji="0" lang="ru-RU" altLang="en-US" sz="900" b="0" i="0" u="none" strike="noStrike" kern="1200" cap="none" spc="0" normalizeH="0" baseline="0" noProof="0" smtClean="0">
                <a:ln>
                  <a:noFill/>
                </a:ln>
                <a:solidFill>
                  <a:srgbClr val="000000"/>
                </a:solidFill>
                <a:effectLst/>
                <a:uLnTx/>
                <a:uFillTx/>
                <a:latin typeface="Tahoma"/>
                <a:ea typeface="+mn-ea"/>
                <a:cs typeface="+mn-cs"/>
                <a:sym typeface="+mn-lt"/>
              </a:rPr>
              <a:pPr marL="0" marR="0" lvl="0" indent="0" algn="ctr" defTabSz="914400" rtl="0" eaLnBrk="1" fontAlgn="base" latinLnBrk="0" hangingPunct="1">
                <a:lnSpc>
                  <a:spcPct val="100000"/>
                </a:lnSpc>
                <a:spcBef>
                  <a:spcPct val="0"/>
                </a:spcBef>
                <a:spcAft>
                  <a:spcPct val="0"/>
                </a:spcAft>
                <a:buClrTx/>
                <a:buSzTx/>
                <a:buFont typeface="Arial" pitchFamily="34" charset="0"/>
                <a:buNone/>
                <a:tabLst/>
                <a:defRPr/>
              </a:pPr>
              <a:t>23.1x</a:t>
            </a:fld>
            <a:endParaRPr kumimoji="0" lang="ru-RU" sz="900" b="0" i="0" u="none" strike="noStrike" kern="1200" cap="none" spc="0" normalizeH="0" baseline="0" noProof="0" dirty="0">
              <a:ln>
                <a:noFill/>
              </a:ln>
              <a:solidFill>
                <a:srgbClr val="000000"/>
              </a:solidFill>
              <a:effectLst/>
              <a:uLnTx/>
              <a:uFillTx/>
              <a:latin typeface="Tahoma"/>
              <a:ea typeface="+mn-ea"/>
              <a:cs typeface="+mn-cs"/>
              <a:sym typeface="+mn-lt"/>
            </a:endParaRPr>
          </a:p>
        </p:txBody>
      </p:sp>
    </p:spTree>
    <p:extLst>
      <p:ext uri="{BB962C8B-B14F-4D97-AF65-F5344CB8AC3E}">
        <p14:creationId xmlns:p14="http://schemas.microsoft.com/office/powerpoint/2010/main" val="2806153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B9E2B10B-2B5B-4D21-B621-3C15B0884A5E}" type="slidenum">
              <a:rPr lang="ru-RU" smtClean="0">
                <a:solidFill>
                  <a:srgbClr val="000000">
                    <a:tint val="75000"/>
                  </a:srgbClr>
                </a:solidFill>
              </a:rPr>
              <a:pPr/>
              <a:t>4</a:t>
            </a:fld>
            <a:endParaRPr lang="ru-RU">
              <a:solidFill>
                <a:srgbClr val="000000">
                  <a:tint val="75000"/>
                </a:srgbClr>
              </a:solidFill>
            </a:endParaRPr>
          </a:p>
        </p:txBody>
      </p:sp>
      <p:sp>
        <p:nvSpPr>
          <p:cNvPr id="5" name="Номер слайда 2"/>
          <p:cNvSpPr txBox="1">
            <a:spLocks/>
          </p:cNvSpPr>
          <p:nvPr/>
        </p:nvSpPr>
        <p:spPr>
          <a:xfrm>
            <a:off x="9087000" y="6192000"/>
            <a:ext cx="390000" cy="360000"/>
          </a:xfrm>
          <a:prstGeom prst="rect">
            <a:avLst/>
          </a:prstGeom>
        </p:spPr>
        <p:txBody>
          <a:bodyPr vert="horz" lIns="91440" tIns="45720" rIns="0" bIns="0" rtlCol="0" anchor="ctr"/>
          <a:lstStyle>
            <a:defPPr>
              <a:defRPr lang="ru-RU"/>
            </a:defPPr>
            <a:lvl1pPr marL="0" algn="r" defTabSz="914400" rtl="0" eaLnBrk="1" latinLnBrk="0" hangingPunct="1">
              <a:defRPr sz="975" kern="1200">
                <a:solidFill>
                  <a:schemeClr val="tx1">
                    <a:tint val="75000"/>
                  </a:schemeClr>
                </a:solidFill>
                <a:latin typeface="+mj-lt"/>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E01335-259E-40F9-B4E1-7E4FDCDF6836}" type="slidenum">
              <a:rPr lang="ru-RU" smtClean="0">
                <a:solidFill>
                  <a:srgbClr val="000000">
                    <a:tint val="75000"/>
                  </a:srgbClr>
                </a:solidFill>
              </a:rPr>
              <a:pPr/>
              <a:t>4</a:t>
            </a:fld>
            <a:endParaRPr lang="ru-RU">
              <a:solidFill>
                <a:srgbClr val="000000">
                  <a:tint val="75000"/>
                </a:srgbClr>
              </a:solidFill>
            </a:endParaRPr>
          </a:p>
        </p:txBody>
      </p:sp>
      <p:sp>
        <p:nvSpPr>
          <p:cNvPr id="6" name="Заголовок 1"/>
          <p:cNvSpPr>
            <a:spLocks noGrp="1"/>
          </p:cNvSpPr>
          <p:nvPr>
            <p:ph type="title"/>
          </p:nvPr>
        </p:nvSpPr>
        <p:spPr>
          <a:xfrm>
            <a:off x="1195204" y="275697"/>
            <a:ext cx="8281796" cy="670196"/>
          </a:xfrm>
        </p:spPr>
        <p:txBody>
          <a:bodyPr/>
          <a:lstStyle/>
          <a:p>
            <a:r>
              <a:rPr lang="ru-RU" sz="1800" dirty="0" smtClean="0"/>
              <a:t>СОТРУДНИЧЕСТВО В ОБЛАСТИ УСТОЙЧИВОГО РАЗВИТИЯ </a:t>
            </a:r>
            <a:endParaRPr lang="ru-RU" sz="1800" dirty="0"/>
          </a:p>
        </p:txBody>
      </p:sp>
      <p:sp>
        <p:nvSpPr>
          <p:cNvPr id="7" name="TextBox 6"/>
          <p:cNvSpPr txBox="1"/>
          <p:nvPr/>
        </p:nvSpPr>
        <p:spPr>
          <a:xfrm>
            <a:off x="1402468" y="763501"/>
            <a:ext cx="7867267" cy="738664"/>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pPr algn="just">
              <a:lnSpc>
                <a:spcPct val="150000"/>
              </a:lnSpc>
              <a:spcBef>
                <a:spcPts val="1200"/>
              </a:spcBef>
              <a:spcAft>
                <a:spcPts val="1200"/>
              </a:spcAft>
            </a:pPr>
            <a:r>
              <a:rPr lang="en-US" sz="1400" b="0" dirty="0" smtClean="0">
                <a:latin typeface="Tahoma" panose="020B0604030504040204" pitchFamily="34" charset="0"/>
                <a:ea typeface="Calibri" panose="020F0502020204030204" pitchFamily="34" charset="0"/>
              </a:rPr>
              <a:t>C 2016 </a:t>
            </a:r>
            <a:r>
              <a:rPr lang="ru-RU" sz="1400" b="0" dirty="0" smtClean="0">
                <a:latin typeface="Tahoma" panose="020B0604030504040204" pitchFamily="34" charset="0"/>
                <a:ea typeface="Calibri" panose="020F0502020204030204" pitchFamily="34" charset="0"/>
              </a:rPr>
              <a:t>года Московская Биржа и РСПП производят совместный ежегодный расчет модельных фондовых индексов устойчивого развития.</a:t>
            </a:r>
            <a:endParaRPr lang="ru-RU" sz="1400" b="0" dirty="0" smtClean="0">
              <a:latin typeface="Tahoma" panose="020B0604030504040204" pitchFamily="34" charset="0"/>
              <a:ea typeface="Calibri" panose="020F0502020204030204" pitchFamily="34" charset="0"/>
            </a:endParaRPr>
          </a:p>
        </p:txBody>
      </p:sp>
      <p:pic>
        <p:nvPicPr>
          <p:cNvPr id="8" name="Рисунок 7" descr="логго.bmp"/>
          <p:cNvPicPr/>
          <p:nvPr/>
        </p:nvPicPr>
        <p:blipFill>
          <a:blip r:embed="rId2">
            <a:extLst>
              <a:ext uri="{28A0092B-C50C-407E-A947-70E740481C1C}">
                <a14:useLocalDpi xmlns:a14="http://schemas.microsoft.com/office/drawing/2010/main" val="0"/>
              </a:ext>
            </a:extLst>
          </a:blip>
          <a:srcRect/>
          <a:stretch>
            <a:fillRect/>
          </a:stretch>
        </p:blipFill>
        <p:spPr bwMode="auto">
          <a:xfrm>
            <a:off x="6080024" y="1728498"/>
            <a:ext cx="2093333" cy="500000"/>
          </a:xfrm>
          <a:prstGeom prst="rect">
            <a:avLst/>
          </a:prstGeom>
          <a:noFill/>
          <a:ln>
            <a:noFill/>
          </a:ln>
        </p:spPr>
      </p:pic>
      <p:pic>
        <p:nvPicPr>
          <p:cNvPr id="9" name="Рисунок 8" descr="https://upload.wikimedia.org/wikipedia/commons/thumb/f/f0/LogoRSPPrusRedrawDyor.svg/290px-LogoRSPPrusRedrawDyor.svg.png"/>
          <p:cNvPicPr/>
          <p:nvPr/>
        </p:nvPicPr>
        <p:blipFill rotWithShape="1">
          <a:blip r:embed="rId3" cstate="print">
            <a:extLst>
              <a:ext uri="{28A0092B-C50C-407E-A947-70E740481C1C}">
                <a14:useLocalDpi xmlns:a14="http://schemas.microsoft.com/office/drawing/2010/main" val="0"/>
              </a:ext>
            </a:extLst>
          </a:blip>
          <a:srcRect l="20720" t="9101" r="22245" b="10413"/>
          <a:stretch/>
        </p:blipFill>
        <p:spPr bwMode="auto">
          <a:xfrm>
            <a:off x="2651501" y="1597053"/>
            <a:ext cx="806036" cy="801905"/>
          </a:xfrm>
          <a:prstGeom prst="rect">
            <a:avLst/>
          </a:prstGeom>
          <a:noFill/>
          <a:ln>
            <a:noFill/>
          </a:ln>
        </p:spPr>
      </p:pic>
      <p:graphicFrame>
        <p:nvGraphicFramePr>
          <p:cNvPr id="10" name="Схема 9"/>
          <p:cNvGraphicFramePr/>
          <p:nvPr>
            <p:extLst>
              <p:ext uri="{D42A27DB-BD31-4B8C-83A1-F6EECF244321}">
                <p14:modId xmlns:p14="http://schemas.microsoft.com/office/powerpoint/2010/main" val="1764031205"/>
              </p:ext>
            </p:extLst>
          </p:nvPr>
        </p:nvGraphicFramePr>
        <p:xfrm>
          <a:off x="1453490" y="2119752"/>
          <a:ext cx="7765221" cy="412797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11" name="Группа 10"/>
          <p:cNvGrpSpPr/>
          <p:nvPr/>
        </p:nvGrpSpPr>
        <p:grpSpPr>
          <a:xfrm rot="5400000">
            <a:off x="5111712" y="4837190"/>
            <a:ext cx="1192830" cy="526231"/>
            <a:chOff x="3027624" y="220099"/>
            <a:chExt cx="1192830" cy="526231"/>
          </a:xfrm>
        </p:grpSpPr>
        <p:sp>
          <p:nvSpPr>
            <p:cNvPr id="12" name="Стрелка вправо 11"/>
            <p:cNvSpPr/>
            <p:nvPr/>
          </p:nvSpPr>
          <p:spPr>
            <a:xfrm rot="2813">
              <a:off x="3027624" y="220099"/>
              <a:ext cx="1192830" cy="526231"/>
            </a:xfrm>
            <a:prstGeom prst="rightArrow">
              <a:avLst>
                <a:gd name="adj1" fmla="val 60000"/>
                <a:gd name="adj2" fmla="val 50000"/>
              </a:avLst>
            </a:prstGeom>
            <a:gradFill flip="none" rotWithShape="0">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p:spPr>
          <p:style>
            <a:lnRef idx="0">
              <a:schemeClr val="accent1">
                <a:tint val="60000"/>
                <a:hueOff val="0"/>
                <a:satOff val="0"/>
                <a:lumOff val="0"/>
                <a:alphaOff val="0"/>
              </a:schemeClr>
            </a:lnRef>
            <a:fillRef idx="2">
              <a:scrgbClr r="0" g="0" b="0"/>
            </a:fillRef>
            <a:effectRef idx="1">
              <a:schemeClr val="accent1">
                <a:tint val="60000"/>
                <a:hueOff val="0"/>
                <a:satOff val="0"/>
                <a:lumOff val="0"/>
                <a:alphaOff val="0"/>
              </a:schemeClr>
            </a:effectRef>
            <a:fontRef idx="minor">
              <a:schemeClr val="dk1"/>
            </a:fontRef>
          </p:style>
        </p:sp>
        <p:sp>
          <p:nvSpPr>
            <p:cNvPr id="13" name="Стрелка вправо 4"/>
            <p:cNvSpPr txBox="1"/>
            <p:nvPr/>
          </p:nvSpPr>
          <p:spPr>
            <a:xfrm rot="2813">
              <a:off x="3027624" y="325280"/>
              <a:ext cx="1034961" cy="315739"/>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ru-RU" sz="1000" kern="1200"/>
            </a:p>
          </p:txBody>
        </p:sp>
      </p:grpSp>
      <p:sp>
        <p:nvSpPr>
          <p:cNvPr id="14" name="TextBox 13"/>
          <p:cNvSpPr txBox="1"/>
          <p:nvPr/>
        </p:nvSpPr>
        <p:spPr>
          <a:xfrm>
            <a:off x="2562044" y="5779981"/>
            <a:ext cx="6366295" cy="608693"/>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pPr>
              <a:lnSpc>
                <a:spcPct val="150000"/>
              </a:lnSpc>
              <a:spcBef>
                <a:spcPts val="1200"/>
              </a:spcBef>
              <a:spcAft>
                <a:spcPts val="1200"/>
              </a:spcAft>
            </a:pPr>
            <a:r>
              <a:rPr lang="ru-RU" sz="1200" cap="all" dirty="0" smtClean="0"/>
              <a:t>ФОНДОВЫЕ </a:t>
            </a:r>
            <a:r>
              <a:rPr lang="ru-RU" sz="1200" cap="all" dirty="0" err="1" smtClean="0"/>
              <a:t>индексЫ</a:t>
            </a:r>
            <a:r>
              <a:rPr lang="ru-RU" sz="1200" cap="all" dirty="0" smtClean="0"/>
              <a:t> </a:t>
            </a:r>
            <a:r>
              <a:rPr lang="ru-RU" sz="1200" cap="all" dirty="0"/>
              <a:t>«Ответственность и открытость</a:t>
            </a:r>
            <a:r>
              <a:rPr lang="ru-RU" sz="1200" cap="all" dirty="0" smtClean="0"/>
              <a:t>» </a:t>
            </a:r>
            <a:br>
              <a:rPr lang="ru-RU" sz="1200" cap="all" dirty="0" smtClean="0"/>
            </a:br>
            <a:r>
              <a:rPr lang="ru-RU" sz="1200" cap="all" dirty="0" smtClean="0"/>
              <a:t>и  </a:t>
            </a:r>
            <a:r>
              <a:rPr lang="ru-RU" sz="1200" cap="all" dirty="0"/>
              <a:t>«Вектор устойчивого развития»</a:t>
            </a:r>
            <a:endParaRPr lang="ru-RU" sz="1200" b="0" dirty="0" smtClean="0">
              <a:latin typeface="Tahoma" panose="020B0604030504040204" pitchFamily="34" charset="0"/>
              <a:ea typeface="Calibri" panose="020F0502020204030204" pitchFamily="34" charset="0"/>
            </a:endParaRPr>
          </a:p>
        </p:txBody>
      </p:sp>
    </p:spTree>
    <p:extLst>
      <p:ext uri="{BB962C8B-B14F-4D97-AF65-F5344CB8AC3E}">
        <p14:creationId xmlns:p14="http://schemas.microsoft.com/office/powerpoint/2010/main" val="37476786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ph type="title"/>
          </p:nvPr>
        </p:nvSpPr>
        <p:spPr>
          <a:xfrm>
            <a:off x="1110537" y="173325"/>
            <a:ext cx="8043685" cy="359985"/>
          </a:xfrm>
        </p:spPr>
        <p:txBody>
          <a:bodyPr/>
          <a:lstStyle/>
          <a:p>
            <a:r>
              <a:rPr lang="ru-RU" cap="all" dirty="0" smtClean="0"/>
              <a:t>ФОНДОВЫЙ индекс </a:t>
            </a:r>
            <a:r>
              <a:rPr lang="ru-RU" cap="all" dirty="0"/>
              <a:t>«Ответственность и открытость»</a:t>
            </a:r>
            <a:endParaRPr lang="ru-RU" sz="1800" dirty="0"/>
          </a:p>
        </p:txBody>
      </p:sp>
      <p:graphicFrame>
        <p:nvGraphicFramePr>
          <p:cNvPr id="7" name="Таблица 6"/>
          <p:cNvGraphicFramePr>
            <a:graphicFrameLocks noGrp="1"/>
          </p:cNvGraphicFramePr>
          <p:nvPr>
            <p:extLst>
              <p:ext uri="{D42A27DB-BD31-4B8C-83A1-F6EECF244321}">
                <p14:modId xmlns:p14="http://schemas.microsoft.com/office/powerpoint/2010/main" val="3546835401"/>
              </p:ext>
            </p:extLst>
          </p:nvPr>
        </p:nvGraphicFramePr>
        <p:xfrm>
          <a:off x="1622811" y="2416179"/>
          <a:ext cx="7320011" cy="3784146"/>
        </p:xfrm>
        <a:graphic>
          <a:graphicData uri="http://schemas.openxmlformats.org/drawingml/2006/table">
            <a:tbl>
              <a:tblPr firstRow="1" firstCol="1" bandRow="1">
                <a:tableStyleId>{0660B408-B3CF-4A94-85FC-2B1E0A45F4A2}</a:tableStyleId>
              </a:tblPr>
              <a:tblGrid>
                <a:gridCol w="321758">
                  <a:extLst>
                    <a:ext uri="{9D8B030D-6E8A-4147-A177-3AD203B41FA5}">
                      <a16:colId xmlns:a16="http://schemas.microsoft.com/office/drawing/2014/main" val="3403219452"/>
                    </a:ext>
                  </a:extLst>
                </a:gridCol>
                <a:gridCol w="512611">
                  <a:extLst>
                    <a:ext uri="{9D8B030D-6E8A-4147-A177-3AD203B41FA5}">
                      <a16:colId xmlns:a16="http://schemas.microsoft.com/office/drawing/2014/main" val="4289303864"/>
                    </a:ext>
                  </a:extLst>
                </a:gridCol>
                <a:gridCol w="2147385">
                  <a:extLst>
                    <a:ext uri="{9D8B030D-6E8A-4147-A177-3AD203B41FA5}">
                      <a16:colId xmlns:a16="http://schemas.microsoft.com/office/drawing/2014/main" val="4150093006"/>
                    </a:ext>
                  </a:extLst>
                </a:gridCol>
                <a:gridCol w="1111978">
                  <a:extLst>
                    <a:ext uri="{9D8B030D-6E8A-4147-A177-3AD203B41FA5}">
                      <a16:colId xmlns:a16="http://schemas.microsoft.com/office/drawing/2014/main" val="86143511"/>
                    </a:ext>
                  </a:extLst>
                </a:gridCol>
                <a:gridCol w="676342">
                  <a:extLst>
                    <a:ext uri="{9D8B030D-6E8A-4147-A177-3AD203B41FA5}">
                      <a16:colId xmlns:a16="http://schemas.microsoft.com/office/drawing/2014/main" val="4175086919"/>
                    </a:ext>
                  </a:extLst>
                </a:gridCol>
                <a:gridCol w="1481115">
                  <a:extLst>
                    <a:ext uri="{9D8B030D-6E8A-4147-A177-3AD203B41FA5}">
                      <a16:colId xmlns:a16="http://schemas.microsoft.com/office/drawing/2014/main" val="73262988"/>
                    </a:ext>
                  </a:extLst>
                </a:gridCol>
                <a:gridCol w="1068822">
                  <a:extLst>
                    <a:ext uri="{9D8B030D-6E8A-4147-A177-3AD203B41FA5}">
                      <a16:colId xmlns:a16="http://schemas.microsoft.com/office/drawing/2014/main" val="4008943470"/>
                    </a:ext>
                  </a:extLst>
                </a:gridCol>
              </a:tblGrid>
              <a:tr h="369832">
                <a:tc>
                  <a:txBody>
                    <a:bodyPr/>
                    <a:lstStyle/>
                    <a:p>
                      <a:pPr algn="ctr">
                        <a:lnSpc>
                          <a:spcPct val="107000"/>
                        </a:lnSpc>
                        <a:spcAft>
                          <a:spcPts val="0"/>
                        </a:spcAft>
                      </a:pPr>
                      <a:r>
                        <a:rPr lang="ru-RU" sz="800" dirty="0">
                          <a:effectLst/>
                          <a:latin typeface="+mj-lt"/>
                        </a:rPr>
                        <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Код</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Наименование</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Капитализация, </a:t>
                      </a:r>
                      <a:r>
                        <a:rPr lang="ru-RU" sz="800" dirty="0" smtClean="0">
                          <a:effectLst/>
                          <a:latin typeface="+mj-lt"/>
                        </a:rPr>
                        <a:t>млн руб</a:t>
                      </a:r>
                      <a:r>
                        <a:rPr lang="ru-RU" sz="800" dirty="0">
                          <a:effectLst/>
                          <a:latin typeface="+mj-lt"/>
                        </a:rPr>
                        <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err="1">
                          <a:effectLst/>
                          <a:latin typeface="+mj-lt"/>
                        </a:rPr>
                        <a:t>Free-Flo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Капитализация с учетом </a:t>
                      </a:r>
                      <a:r>
                        <a:rPr lang="ru-RU" sz="800" dirty="0" err="1">
                          <a:effectLst/>
                          <a:latin typeface="+mj-lt"/>
                        </a:rPr>
                        <a:t>free-float</a:t>
                      </a:r>
                      <a:r>
                        <a:rPr lang="ru-RU" sz="800" dirty="0">
                          <a:effectLst/>
                          <a:latin typeface="+mj-lt"/>
                        </a:rPr>
                        <a:t>, </a:t>
                      </a:r>
                      <a:r>
                        <a:rPr lang="ru-RU" sz="800" dirty="0" smtClean="0">
                          <a:effectLst/>
                          <a:latin typeface="+mj-lt"/>
                        </a:rPr>
                        <a:t>млн руб</a:t>
                      </a:r>
                      <a:r>
                        <a:rPr lang="ru-RU" sz="800" dirty="0">
                          <a:effectLst/>
                          <a:latin typeface="+mj-lt"/>
                        </a:rPr>
                        <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Вес по сост</a:t>
                      </a:r>
                      <a:r>
                        <a:rPr lang="ru-RU" sz="800" dirty="0" smtClean="0">
                          <a:effectLst/>
                          <a:latin typeface="+mj-lt"/>
                        </a:rPr>
                        <a:t>.</a:t>
                      </a:r>
                      <a:br>
                        <a:rPr lang="ru-RU" sz="800" dirty="0" smtClean="0">
                          <a:effectLst/>
                          <a:latin typeface="+mj-lt"/>
                        </a:rPr>
                      </a:br>
                      <a:r>
                        <a:rPr lang="ru-RU" sz="800" dirty="0" smtClean="0">
                          <a:effectLst/>
                          <a:latin typeface="+mj-lt"/>
                        </a:rPr>
                        <a:t> </a:t>
                      </a:r>
                      <a:r>
                        <a:rPr lang="ru-RU" sz="800" dirty="0">
                          <a:effectLst/>
                          <a:latin typeface="+mj-lt"/>
                        </a:rPr>
                        <a:t>на 31.0</a:t>
                      </a:r>
                      <a:r>
                        <a:rPr lang="en-US" sz="800" dirty="0">
                          <a:effectLst/>
                          <a:latin typeface="+mj-lt"/>
                        </a:rPr>
                        <a:t>8</a:t>
                      </a:r>
                      <a:r>
                        <a:rPr lang="ru-RU" sz="800" dirty="0">
                          <a:effectLst/>
                          <a:latin typeface="+mj-lt"/>
                        </a:rPr>
                        <a:t>.2018</a:t>
                      </a:r>
                      <a:r>
                        <a:rPr lang="ru-RU" sz="800" dirty="0" smtClean="0">
                          <a:effectLst/>
                          <a:latin typeface="+mj-lt"/>
                        </a:rPr>
                        <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extLst>
                  <a:ext uri="{0D108BD9-81ED-4DB2-BD59-A6C34878D82A}">
                    <a16:rowId xmlns:a16="http://schemas.microsoft.com/office/drawing/2014/main" val="3142757007"/>
                  </a:ext>
                </a:extLst>
              </a:tr>
              <a:tr h="154798">
                <a:tc>
                  <a:txBody>
                    <a:bodyPr/>
                    <a:lstStyle/>
                    <a:p>
                      <a:pPr algn="ctr">
                        <a:lnSpc>
                          <a:spcPct val="107000"/>
                        </a:lnSpc>
                        <a:spcAft>
                          <a:spcPts val="0"/>
                        </a:spcAft>
                      </a:pPr>
                      <a:r>
                        <a:rPr lang="ru-RU" sz="900" b="0" dirty="0">
                          <a:effectLst/>
                          <a:latin typeface="+mj-lt"/>
                        </a:rPr>
                        <a:t>1</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SBER</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dirty="0">
                          <a:effectLst/>
                          <a:latin typeface="+mj-lt"/>
                        </a:rPr>
                        <a:t>ПАО Сбербанк, </a:t>
                      </a:r>
                      <a:r>
                        <a:rPr lang="ru-RU" sz="900" dirty="0" err="1">
                          <a:effectLst/>
                          <a:latin typeface="+mj-lt"/>
                        </a:rPr>
                        <a:t>ао</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3 928 825</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48%</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 885 83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5,0%</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982885740"/>
                  </a:ext>
                </a:extLst>
              </a:tr>
              <a:tr h="154798">
                <a:tc>
                  <a:txBody>
                    <a:bodyPr/>
                    <a:lstStyle/>
                    <a:p>
                      <a:pPr algn="ctr">
                        <a:lnSpc>
                          <a:spcPct val="107000"/>
                        </a:lnSpc>
                        <a:spcAft>
                          <a:spcPts val="0"/>
                        </a:spcAft>
                      </a:pPr>
                      <a:r>
                        <a:rPr lang="ru-RU" sz="900" b="0" dirty="0">
                          <a:effectLst/>
                          <a:latin typeface="+mj-lt"/>
                        </a:rPr>
                        <a:t>2</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dirty="0">
                          <a:effectLst/>
                          <a:latin typeface="+mj-lt"/>
                        </a:rPr>
                        <a:t>GAZP</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Газпром",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3 549 843</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46%</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 632 928</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5,0%</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15092371"/>
                  </a:ext>
                </a:extLst>
              </a:tr>
              <a:tr h="154798">
                <a:tc>
                  <a:txBody>
                    <a:bodyPr/>
                    <a:lstStyle/>
                    <a:p>
                      <a:pPr algn="ctr">
                        <a:lnSpc>
                          <a:spcPct val="107000"/>
                        </a:lnSpc>
                        <a:spcAft>
                          <a:spcPts val="0"/>
                        </a:spcAft>
                      </a:pPr>
                      <a:r>
                        <a:rPr lang="ru-RU" sz="900" b="0" dirty="0">
                          <a:effectLst/>
                          <a:latin typeface="+mj-lt"/>
                        </a:rPr>
                        <a:t>3</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LKOH</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ЛУКОЙЛ",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3 998 073</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46%</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 839 113</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5,0%</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80658346"/>
                  </a:ext>
                </a:extLst>
              </a:tr>
              <a:tr h="154798">
                <a:tc>
                  <a:txBody>
                    <a:bodyPr/>
                    <a:lstStyle/>
                    <a:p>
                      <a:pPr algn="ctr">
                        <a:lnSpc>
                          <a:spcPct val="107000"/>
                        </a:lnSpc>
                        <a:spcAft>
                          <a:spcPts val="0"/>
                        </a:spcAft>
                      </a:pPr>
                      <a:r>
                        <a:rPr lang="ru-RU" sz="900" b="0" dirty="0">
                          <a:effectLst/>
                          <a:latin typeface="+mj-lt"/>
                        </a:rPr>
                        <a:t>4</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NVTK</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НОВАТЭК",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 288 319</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27%</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887 846</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2,4%</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62619754"/>
                  </a:ext>
                </a:extLst>
              </a:tr>
              <a:tr h="154798">
                <a:tc>
                  <a:txBody>
                    <a:bodyPr/>
                    <a:lstStyle/>
                    <a:p>
                      <a:pPr algn="ctr">
                        <a:lnSpc>
                          <a:spcPct val="107000"/>
                        </a:lnSpc>
                        <a:spcAft>
                          <a:spcPts val="0"/>
                        </a:spcAft>
                      </a:pPr>
                      <a:r>
                        <a:rPr lang="ru-RU" sz="900" b="0" dirty="0">
                          <a:effectLst/>
                          <a:latin typeface="+mj-lt"/>
                        </a:rPr>
                        <a:t>5</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GMKN</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ГМК "Норильский никель",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 775 514</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8%</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674 695</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9,4%</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998245839"/>
                  </a:ext>
                </a:extLst>
              </a:tr>
              <a:tr h="154798">
                <a:tc>
                  <a:txBody>
                    <a:bodyPr/>
                    <a:lstStyle/>
                    <a:p>
                      <a:pPr algn="ctr">
                        <a:lnSpc>
                          <a:spcPct val="107000"/>
                        </a:lnSpc>
                        <a:spcAft>
                          <a:spcPts val="0"/>
                        </a:spcAft>
                      </a:pPr>
                      <a:r>
                        <a:rPr lang="ru-RU" sz="900" b="0" dirty="0">
                          <a:effectLst/>
                          <a:latin typeface="+mj-lt"/>
                        </a:rPr>
                        <a:t>6</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dirty="0">
                          <a:effectLst/>
                          <a:latin typeface="+mj-lt"/>
                        </a:rPr>
                        <a:t>TATN</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Татнефть" им. В.Д. Шашина,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 706 133</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2%</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545 962</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7,6%</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595609911"/>
                  </a:ext>
                </a:extLst>
              </a:tr>
              <a:tr h="154798">
                <a:tc>
                  <a:txBody>
                    <a:bodyPr/>
                    <a:lstStyle/>
                    <a:p>
                      <a:pPr algn="ctr">
                        <a:lnSpc>
                          <a:spcPct val="107000"/>
                        </a:lnSpc>
                        <a:spcAft>
                          <a:spcPts val="0"/>
                        </a:spcAft>
                      </a:pPr>
                      <a:r>
                        <a:rPr lang="ru-RU" sz="900" b="0" dirty="0">
                          <a:effectLst/>
                          <a:latin typeface="+mj-lt"/>
                        </a:rPr>
                        <a:t>7</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ROSN</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НК "Роснефть",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4 617 62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1%</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507 939</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7,1%</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76730782"/>
                  </a:ext>
                </a:extLst>
              </a:tr>
              <a:tr h="154798">
                <a:tc>
                  <a:txBody>
                    <a:bodyPr/>
                    <a:lstStyle/>
                    <a:p>
                      <a:pPr algn="ctr">
                        <a:lnSpc>
                          <a:spcPct val="107000"/>
                        </a:lnSpc>
                        <a:spcAft>
                          <a:spcPts val="0"/>
                        </a:spcAft>
                      </a:pPr>
                      <a:r>
                        <a:rPr lang="ru-RU" sz="900" b="0" dirty="0">
                          <a:effectLst/>
                          <a:latin typeface="+mj-lt"/>
                        </a:rPr>
                        <a:t>8</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ALRS</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АК "АЛРОСА" (ПАО),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746 734</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4%</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253 890</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3,5%</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830556851"/>
                  </a:ext>
                </a:extLst>
              </a:tr>
              <a:tr h="154798">
                <a:tc>
                  <a:txBody>
                    <a:bodyPr/>
                    <a:lstStyle/>
                    <a:p>
                      <a:pPr algn="ctr">
                        <a:lnSpc>
                          <a:spcPct val="107000"/>
                        </a:lnSpc>
                        <a:spcAft>
                          <a:spcPts val="0"/>
                        </a:spcAft>
                      </a:pPr>
                      <a:r>
                        <a:rPr lang="ru-RU" sz="900" b="0">
                          <a:effectLst/>
                          <a:latin typeface="+mj-lt"/>
                        </a:rPr>
                        <a:t>9</a:t>
                      </a:r>
                      <a:endParaRPr lang="ru-RU" sz="900" b="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MTSS</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МТС",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523 47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48%</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251 269</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3,5%</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391462653"/>
                  </a:ext>
                </a:extLst>
              </a:tr>
              <a:tr h="154798">
                <a:tc>
                  <a:txBody>
                    <a:bodyPr/>
                    <a:lstStyle/>
                    <a:p>
                      <a:pPr algn="ctr">
                        <a:lnSpc>
                          <a:spcPct val="107000"/>
                        </a:lnSpc>
                        <a:spcAft>
                          <a:spcPts val="0"/>
                        </a:spcAft>
                      </a:pPr>
                      <a:r>
                        <a:rPr lang="ru-RU" sz="900" b="0" dirty="0">
                          <a:effectLst/>
                          <a:latin typeface="+mj-lt"/>
                        </a:rPr>
                        <a:t>10</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CHMF</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Северсталь",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909 84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20%</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81 969</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2,5%</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92643683"/>
                  </a:ext>
                </a:extLst>
              </a:tr>
              <a:tr h="154798">
                <a:tc>
                  <a:txBody>
                    <a:bodyPr/>
                    <a:lstStyle/>
                    <a:p>
                      <a:pPr algn="ctr">
                        <a:lnSpc>
                          <a:spcPct val="107000"/>
                        </a:lnSpc>
                        <a:spcAft>
                          <a:spcPts val="0"/>
                        </a:spcAft>
                      </a:pPr>
                      <a:r>
                        <a:rPr lang="ru-RU" sz="900" b="0">
                          <a:effectLst/>
                          <a:latin typeface="+mj-lt"/>
                        </a:rPr>
                        <a:t>11</a:t>
                      </a:r>
                      <a:endParaRPr lang="ru-RU" sz="900" b="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NLMK</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НЛМК",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992 838</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58 854</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2,2%</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07695645"/>
                  </a:ext>
                </a:extLst>
              </a:tr>
              <a:tr h="154798">
                <a:tc>
                  <a:txBody>
                    <a:bodyPr/>
                    <a:lstStyle/>
                    <a:p>
                      <a:pPr algn="ctr">
                        <a:lnSpc>
                          <a:spcPct val="107000"/>
                        </a:lnSpc>
                        <a:spcAft>
                          <a:spcPts val="0"/>
                        </a:spcAft>
                      </a:pPr>
                      <a:r>
                        <a:rPr lang="ru-RU" sz="900" b="0" dirty="0">
                          <a:effectLst/>
                          <a:latin typeface="+mj-lt"/>
                        </a:rPr>
                        <a:t>12</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IRAO</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Интер РАО",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421 77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3%</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39 186</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9%</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72612230"/>
                  </a:ext>
                </a:extLst>
              </a:tr>
              <a:tr h="154798">
                <a:tc>
                  <a:txBody>
                    <a:bodyPr/>
                    <a:lstStyle/>
                    <a:p>
                      <a:pPr algn="ctr">
                        <a:lnSpc>
                          <a:spcPct val="107000"/>
                        </a:lnSpc>
                        <a:spcAft>
                          <a:spcPts val="0"/>
                        </a:spcAft>
                      </a:pPr>
                      <a:r>
                        <a:rPr lang="ru-RU" sz="900" b="0">
                          <a:effectLst/>
                          <a:latin typeface="+mj-lt"/>
                        </a:rPr>
                        <a:t>13</a:t>
                      </a:r>
                      <a:endParaRPr lang="ru-RU" sz="900" b="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TRNFP</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Транснефть", ап</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221 570</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2%</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70 902</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0%</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1722589"/>
                  </a:ext>
                </a:extLst>
              </a:tr>
              <a:tr h="154798">
                <a:tc>
                  <a:txBody>
                    <a:bodyPr/>
                    <a:lstStyle/>
                    <a:p>
                      <a:pPr algn="ctr">
                        <a:lnSpc>
                          <a:spcPct val="107000"/>
                        </a:lnSpc>
                        <a:spcAft>
                          <a:spcPts val="0"/>
                        </a:spcAft>
                      </a:pPr>
                      <a:r>
                        <a:rPr lang="ru-RU" sz="900" b="0">
                          <a:effectLst/>
                          <a:latin typeface="+mj-lt"/>
                        </a:rPr>
                        <a:t>14</a:t>
                      </a:r>
                      <a:endParaRPr lang="ru-RU" sz="900" b="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AFLT</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Аэрофлот",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28 27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45%</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57 724</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8%</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834539823"/>
                  </a:ext>
                </a:extLst>
              </a:tr>
              <a:tr h="154798">
                <a:tc>
                  <a:txBody>
                    <a:bodyPr/>
                    <a:lstStyle/>
                    <a:p>
                      <a:pPr algn="ctr">
                        <a:lnSpc>
                          <a:spcPct val="107000"/>
                        </a:lnSpc>
                        <a:spcAft>
                          <a:spcPts val="0"/>
                        </a:spcAft>
                      </a:pPr>
                      <a:r>
                        <a:rPr lang="ru-RU" sz="900" b="0" dirty="0">
                          <a:effectLst/>
                          <a:latin typeface="+mj-lt"/>
                        </a:rPr>
                        <a:t>15</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RTKM</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Ростелеком",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74 064</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2%</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55 701</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8%</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94321228"/>
                  </a:ext>
                </a:extLst>
              </a:tr>
              <a:tr h="318354">
                <a:tc>
                  <a:txBody>
                    <a:bodyPr/>
                    <a:lstStyle/>
                    <a:p>
                      <a:pPr algn="ctr">
                        <a:lnSpc>
                          <a:spcPct val="107000"/>
                        </a:lnSpc>
                        <a:spcAft>
                          <a:spcPts val="0"/>
                        </a:spcAft>
                      </a:pPr>
                      <a:r>
                        <a:rPr lang="ru-RU" sz="900" b="0" dirty="0">
                          <a:effectLst/>
                          <a:latin typeface="+mj-lt"/>
                        </a:rPr>
                        <a:t>16</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RUAL</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dirty="0">
                          <a:effectLst/>
                          <a:latin typeface="+mj-lt"/>
                        </a:rPr>
                        <a:t>Юнайтед Компани РУСАЛ </a:t>
                      </a:r>
                      <a:r>
                        <a:rPr lang="ru-RU" sz="900" dirty="0" err="1">
                          <a:effectLst/>
                          <a:latin typeface="+mj-lt"/>
                        </a:rPr>
                        <a:t>Плс</a:t>
                      </a:r>
                      <a:r>
                        <a:rPr lang="ru-RU" sz="900" dirty="0">
                          <a:effectLst/>
                          <a:latin typeface="+mj-lt"/>
                        </a:rPr>
                        <a:t>, акции иностранного эмитента</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28 929</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52 629</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7%</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285024815"/>
                  </a:ext>
                </a:extLst>
              </a:tr>
              <a:tr h="154798">
                <a:tc>
                  <a:txBody>
                    <a:bodyPr/>
                    <a:lstStyle/>
                    <a:p>
                      <a:pPr algn="ctr">
                        <a:lnSpc>
                          <a:spcPct val="107000"/>
                        </a:lnSpc>
                        <a:spcAft>
                          <a:spcPts val="0"/>
                        </a:spcAft>
                      </a:pPr>
                      <a:r>
                        <a:rPr lang="ru-RU" sz="900" b="0" dirty="0">
                          <a:effectLst/>
                          <a:latin typeface="+mj-lt"/>
                        </a:rPr>
                        <a:t>17</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HYDR</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РусГидро",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271 503</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9%</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51 58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7%</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20291613"/>
                  </a:ext>
                </a:extLst>
              </a:tr>
              <a:tr h="154798">
                <a:tc>
                  <a:txBody>
                    <a:bodyPr/>
                    <a:lstStyle/>
                    <a:p>
                      <a:pPr algn="ctr">
                        <a:lnSpc>
                          <a:spcPct val="107000"/>
                        </a:lnSpc>
                        <a:spcAft>
                          <a:spcPts val="0"/>
                        </a:spcAft>
                      </a:pPr>
                      <a:r>
                        <a:rPr lang="ru-RU" sz="900" b="0" dirty="0">
                          <a:effectLst/>
                          <a:latin typeface="+mj-lt"/>
                        </a:rPr>
                        <a:t>18</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AFKS</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АФК "Система",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79 999</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28 799</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4%</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050751561"/>
                  </a:ext>
                </a:extLst>
              </a:tr>
              <a:tr h="154798">
                <a:tc>
                  <a:txBody>
                    <a:bodyPr/>
                    <a:lstStyle/>
                    <a:p>
                      <a:pPr algn="ctr">
                        <a:lnSpc>
                          <a:spcPct val="107000"/>
                        </a:lnSpc>
                        <a:spcAft>
                          <a:spcPts val="0"/>
                        </a:spcAft>
                      </a:pPr>
                      <a:r>
                        <a:rPr lang="ru-RU" sz="900" b="0" dirty="0">
                          <a:effectLst/>
                          <a:latin typeface="+mj-lt"/>
                        </a:rPr>
                        <a:t>19</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RSTI</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Россети",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34 606</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1%</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14 807</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2%</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898360310"/>
                  </a:ext>
                </a:extLst>
              </a:tr>
              <a:tr h="154798">
                <a:tc>
                  <a:txBody>
                    <a:bodyPr/>
                    <a:lstStyle/>
                    <a:p>
                      <a:pPr algn="ctr">
                        <a:lnSpc>
                          <a:spcPct val="107000"/>
                        </a:lnSpc>
                        <a:spcAft>
                          <a:spcPts val="0"/>
                        </a:spcAft>
                      </a:pPr>
                      <a:r>
                        <a:rPr lang="ru-RU" sz="900" b="0" dirty="0">
                          <a:effectLst/>
                          <a:latin typeface="+mj-lt"/>
                        </a:rPr>
                        <a:t>20</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URKA</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Уралкалий",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237 377</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3%</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7 121</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1%</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85282802"/>
                  </a:ext>
                </a:extLst>
              </a:tr>
              <a:tr h="154798">
                <a:tc>
                  <a:txBody>
                    <a:bodyPr/>
                    <a:lstStyle/>
                    <a:p>
                      <a:pPr algn="ctr">
                        <a:lnSpc>
                          <a:spcPct val="107000"/>
                        </a:lnSpc>
                        <a:spcAft>
                          <a:spcPts val="0"/>
                        </a:spcAft>
                      </a:pPr>
                      <a:r>
                        <a:rPr lang="ru-RU" sz="900" b="0" dirty="0">
                          <a:effectLst/>
                          <a:latin typeface="+mj-lt"/>
                        </a:rPr>
                        <a:t>21</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KMAZ</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nSpc>
                          <a:spcPct val="107000"/>
                        </a:lnSpc>
                        <a:spcAft>
                          <a:spcPts val="0"/>
                        </a:spcAft>
                      </a:pPr>
                      <a:r>
                        <a:rPr lang="ru-RU" sz="900">
                          <a:effectLst/>
                          <a:latin typeface="+mj-lt"/>
                        </a:rPr>
                        <a:t>ПАО "КАМАЗ", ао</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44 202</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a:effectLst/>
                          <a:latin typeface="+mj-lt"/>
                        </a:rPr>
                        <a:t>4%</a:t>
                      </a:r>
                      <a:endParaRPr lang="ru-RU" sz="90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1 768</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r">
                        <a:lnSpc>
                          <a:spcPct val="107000"/>
                        </a:lnSpc>
                        <a:spcAft>
                          <a:spcPts val="0"/>
                        </a:spcAft>
                      </a:pPr>
                      <a:r>
                        <a:rPr lang="ru-RU" sz="900" dirty="0">
                          <a:effectLst/>
                          <a:latin typeface="+mj-lt"/>
                        </a:rPr>
                        <a:t>0,02%</a:t>
                      </a:r>
                      <a:endParaRPr lang="ru-RU" sz="900" dirty="0">
                        <a:effectLst/>
                        <a:latin typeface="+mj-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479079031"/>
                  </a:ext>
                </a:extLst>
              </a:tr>
            </a:tbl>
          </a:graphicData>
        </a:graphic>
      </p:graphicFrame>
      <p:sp>
        <p:nvSpPr>
          <p:cNvPr id="8" name="TextBox 7"/>
          <p:cNvSpPr txBox="1"/>
          <p:nvPr/>
        </p:nvSpPr>
        <p:spPr>
          <a:xfrm>
            <a:off x="1195204" y="533310"/>
            <a:ext cx="8281796" cy="1898981"/>
          </a:xfrm>
          <a:prstGeom prst="rect">
            <a:avLst/>
          </a:prstGeom>
          <a:noFill/>
        </p:spPr>
        <p:txBody>
          <a:bodyPr wrap="square" rtlCol="0">
            <a:spAutoFit/>
          </a:bodyPr>
          <a:lstStyle/>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latin typeface="Tahoma" panose="020B0604030504040204" pitchFamily="34" charset="0"/>
                <a:ea typeface="Calibri" panose="020F0502020204030204" pitchFamily="34" charset="0"/>
              </a:rPr>
              <a:t>В состав индекса в </a:t>
            </a:r>
            <a:r>
              <a:rPr lang="ru-RU" sz="1200" dirty="0" smtClean="0">
                <a:latin typeface="Tahoma" panose="020B0604030504040204" pitchFamily="34" charset="0"/>
                <a:ea typeface="Calibri" panose="020F0502020204030204" pitchFamily="34" charset="0"/>
              </a:rPr>
              <a:t>2017г</a:t>
            </a:r>
            <a:r>
              <a:rPr lang="ru-RU" sz="1200" dirty="0" smtClean="0">
                <a:latin typeface="Tahoma" panose="020B0604030504040204" pitchFamily="34" charset="0"/>
                <a:ea typeface="Calibri" panose="020F0502020204030204" pitchFamily="34" charset="0"/>
              </a:rPr>
              <a:t>. вошли </a:t>
            </a:r>
            <a:r>
              <a:rPr lang="ru-RU" sz="1200" dirty="0">
                <a:latin typeface="Tahoma" panose="020B0604030504040204" pitchFamily="34" charset="0"/>
                <a:ea typeface="Calibri" panose="020F0502020204030204" pitchFamily="34" charset="0"/>
              </a:rPr>
              <a:t>акции </a:t>
            </a:r>
            <a:r>
              <a:rPr lang="ru-RU" sz="1200" dirty="0" smtClean="0">
                <a:latin typeface="Tahoma" panose="020B0604030504040204" pitchFamily="34" charset="0"/>
                <a:ea typeface="Calibri" panose="020F0502020204030204" pitchFamily="34" charset="0"/>
              </a:rPr>
              <a:t>21 эмитента:</a:t>
            </a:r>
          </a:p>
          <a:p>
            <a:pPr marL="723900" lvl="2" indent="-266700">
              <a:lnSpc>
                <a:spcPct val="110000"/>
              </a:lnSpc>
              <a:spcAft>
                <a:spcPts val="554"/>
              </a:spcAft>
              <a:buClr>
                <a:srgbClr val="000000"/>
              </a:buClr>
              <a:buSzPct val="150000"/>
              <a:buFont typeface="Wingdings" panose="05000000000000000000" pitchFamily="2" charset="2"/>
              <a:buChar char="ü"/>
            </a:pPr>
            <a:r>
              <a:rPr lang="ru-RU" sz="1200" dirty="0" smtClean="0">
                <a:latin typeface="Tahoma" panose="020B0604030504040204" pitchFamily="34" charset="0"/>
                <a:ea typeface="Calibri" panose="020F0502020204030204" pitchFamily="34" charset="0"/>
              </a:rPr>
              <a:t>обращающиеся на Бирже, </a:t>
            </a:r>
          </a:p>
          <a:p>
            <a:pPr marL="723900" lvl="2" indent="-266700">
              <a:lnSpc>
                <a:spcPct val="110000"/>
              </a:lnSpc>
              <a:spcAft>
                <a:spcPts val="554"/>
              </a:spcAft>
              <a:buClr>
                <a:srgbClr val="000000"/>
              </a:buClr>
              <a:buSzPct val="150000"/>
              <a:buFont typeface="Wingdings" panose="05000000000000000000" pitchFamily="2" charset="2"/>
              <a:buChar char="ü"/>
            </a:pPr>
            <a:r>
              <a:rPr lang="ru-RU" sz="1200" dirty="0" smtClean="0">
                <a:latin typeface="Tahoma" panose="020B0604030504040204" pitchFamily="34" charset="0"/>
                <a:ea typeface="Calibri" panose="020F0502020204030204" pitchFamily="34" charset="0"/>
              </a:rPr>
              <a:t>раскрывающие </a:t>
            </a:r>
            <a:r>
              <a:rPr lang="ru-RU" sz="1200" dirty="0">
                <a:latin typeface="Tahoma" panose="020B0604030504040204" pitchFamily="34" charset="0"/>
                <a:ea typeface="Calibri" panose="020F0502020204030204" pitchFamily="34" charset="0"/>
              </a:rPr>
              <a:t>наиболее полную информацию о деятельности </a:t>
            </a:r>
            <a:r>
              <a:rPr lang="ru-RU" sz="1200" dirty="0" smtClean="0">
                <a:latin typeface="Tahoma" panose="020B0604030504040204" pitchFamily="34" charset="0"/>
                <a:ea typeface="Calibri" panose="020F0502020204030204" pitchFamily="34" charset="0"/>
              </a:rPr>
              <a:t>в </a:t>
            </a:r>
            <a:r>
              <a:rPr lang="ru-RU" sz="1200" dirty="0">
                <a:latin typeface="Tahoma" panose="020B0604030504040204" pitchFamily="34" charset="0"/>
                <a:ea typeface="Calibri" panose="020F0502020204030204" pitchFamily="34" charset="0"/>
              </a:rPr>
              <a:t>сфере устойчивого развития и </a:t>
            </a:r>
            <a:r>
              <a:rPr lang="ru-RU" sz="1200" dirty="0" smtClean="0">
                <a:latin typeface="Tahoma" panose="020B0604030504040204" pitchFamily="34" charset="0"/>
                <a:ea typeface="Calibri" panose="020F0502020204030204" pitchFamily="34" charset="0"/>
              </a:rPr>
              <a:t>КСО</a:t>
            </a:r>
            <a:br>
              <a:rPr lang="ru-RU" sz="1200" dirty="0" smtClean="0">
                <a:latin typeface="Tahoma" panose="020B0604030504040204" pitchFamily="34" charset="0"/>
                <a:ea typeface="Calibri" panose="020F0502020204030204" pitchFamily="34" charset="0"/>
              </a:rPr>
            </a:br>
            <a:r>
              <a:rPr lang="ru-RU" sz="1200" dirty="0" smtClean="0">
                <a:latin typeface="Tahoma" panose="020B0604030504040204" pitchFamily="34" charset="0"/>
                <a:ea typeface="Calibri" panose="020F0502020204030204" pitchFamily="34" charset="0"/>
              </a:rPr>
              <a:t>(отбор эмитентов экспертами РСПП – ежегодно);</a:t>
            </a:r>
          </a:p>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latin typeface="Tahoma" panose="020B0604030504040204" pitchFamily="34" charset="0"/>
                <a:ea typeface="Calibri" panose="020F0502020204030204" pitchFamily="34" charset="0"/>
              </a:rPr>
              <a:t>Веса акций - на основе </a:t>
            </a:r>
            <a:r>
              <a:rPr lang="en-US" sz="1200" dirty="0" smtClean="0">
                <a:latin typeface="Tahoma" panose="020B0604030504040204" pitchFamily="34" charset="0"/>
                <a:ea typeface="Calibri" panose="020F0502020204030204" pitchFamily="34" charset="0"/>
              </a:rPr>
              <a:t>free-float</a:t>
            </a:r>
            <a:r>
              <a:rPr lang="ru-RU" sz="1200" dirty="0" smtClean="0">
                <a:latin typeface="Tahoma" panose="020B0604030504040204" pitchFamily="34" charset="0"/>
                <a:ea typeface="Calibri" panose="020F0502020204030204" pitchFamily="34" charset="0"/>
              </a:rPr>
              <a:t> капитализации, ежеквартальная </a:t>
            </a:r>
            <a:r>
              <a:rPr lang="ru-RU" sz="1200" dirty="0" err="1" smtClean="0">
                <a:latin typeface="Tahoma" panose="020B0604030504040204" pitchFamily="34" charset="0"/>
                <a:ea typeface="Calibri" panose="020F0502020204030204" pitchFamily="34" charset="0"/>
              </a:rPr>
              <a:t>ребалансировка</a:t>
            </a:r>
            <a:r>
              <a:rPr lang="ru-RU" sz="1200" dirty="0" smtClean="0">
                <a:latin typeface="Tahoma" panose="020B0604030504040204" pitchFamily="34" charset="0"/>
                <a:ea typeface="Calibri" panose="020F0502020204030204" pitchFamily="34" charset="0"/>
              </a:rPr>
              <a:t> весов;</a:t>
            </a:r>
          </a:p>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latin typeface="Tahoma" panose="020B0604030504040204" pitchFamily="34" charset="0"/>
                <a:ea typeface="Calibri" panose="020F0502020204030204" pitchFamily="34" charset="0"/>
              </a:rPr>
              <a:t>Ограничение на максимальный вес эмитента – 15%;</a:t>
            </a:r>
          </a:p>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solidFill>
                  <a:srgbClr val="000000"/>
                </a:solidFill>
                <a:latin typeface="Tahoma" panose="020B0604030504040204" pitchFamily="34" charset="0"/>
              </a:rPr>
              <a:t>Расчет – 1 раз в год (на основе ежедневных цен закрытия акций эмитентов на </a:t>
            </a:r>
            <a:r>
              <a:rPr lang="ru-RU" sz="1200" dirty="0" err="1" smtClean="0">
                <a:solidFill>
                  <a:srgbClr val="000000"/>
                </a:solidFill>
                <a:latin typeface="Tahoma" panose="020B0604030504040204" pitchFamily="34" charset="0"/>
              </a:rPr>
              <a:t>МосБирже</a:t>
            </a:r>
            <a:r>
              <a:rPr lang="ru-RU" sz="1200" dirty="0" smtClean="0">
                <a:solidFill>
                  <a:srgbClr val="000000"/>
                </a:solidFill>
                <a:latin typeface="Tahoma" panose="020B0604030504040204" pitchFamily="34" charset="0"/>
              </a:rPr>
              <a:t>).</a:t>
            </a:r>
            <a:endParaRPr lang="ru-RU" sz="1200" dirty="0">
              <a:solidFill>
                <a:srgbClr val="000000"/>
              </a:solidFill>
            </a:endParaRPr>
          </a:p>
        </p:txBody>
      </p:sp>
      <p:sp>
        <p:nvSpPr>
          <p:cNvPr id="9" name="Номер слайда 1"/>
          <p:cNvSpPr>
            <a:spLocks noGrp="1"/>
          </p:cNvSpPr>
          <p:nvPr>
            <p:ph type="sldNum" sz="quarter" idx="12"/>
          </p:nvPr>
        </p:nvSpPr>
        <p:spPr>
          <a:xfrm>
            <a:off x="9087000" y="6192000"/>
            <a:ext cx="390000" cy="360000"/>
          </a:xfrm>
        </p:spPr>
        <p:txBody>
          <a:bodyPr/>
          <a:lstStyle/>
          <a:p>
            <a:r>
              <a:rPr lang="ru-RU" dirty="0" smtClean="0">
                <a:solidFill>
                  <a:srgbClr val="000000">
                    <a:tint val="75000"/>
                  </a:srgbClr>
                </a:solidFill>
              </a:rPr>
              <a:t>6</a:t>
            </a:r>
            <a:endParaRPr lang="ru-RU" dirty="0">
              <a:solidFill>
                <a:srgbClr val="000000">
                  <a:tint val="75000"/>
                </a:srgbClr>
              </a:solidFill>
            </a:endParaRPr>
          </a:p>
        </p:txBody>
      </p:sp>
    </p:spTree>
    <p:extLst>
      <p:ext uri="{BB962C8B-B14F-4D97-AF65-F5344CB8AC3E}">
        <p14:creationId xmlns:p14="http://schemas.microsoft.com/office/powerpoint/2010/main" val="69979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B9E2B10B-2B5B-4D21-B621-3C15B0884A5E}" type="slidenum">
              <a:rPr lang="ru-RU" smtClean="0">
                <a:solidFill>
                  <a:srgbClr val="000000">
                    <a:tint val="75000"/>
                  </a:srgbClr>
                </a:solidFill>
              </a:rPr>
              <a:pPr/>
              <a:t>6</a:t>
            </a:fld>
            <a:endParaRPr lang="ru-RU" dirty="0">
              <a:solidFill>
                <a:srgbClr val="000000">
                  <a:tint val="75000"/>
                </a:srgbClr>
              </a:solidFill>
            </a:endParaRPr>
          </a:p>
        </p:txBody>
      </p:sp>
      <p:graphicFrame>
        <p:nvGraphicFramePr>
          <p:cNvPr id="5" name="Таблица 4"/>
          <p:cNvGraphicFramePr>
            <a:graphicFrameLocks noGrp="1"/>
          </p:cNvGraphicFramePr>
          <p:nvPr>
            <p:extLst>
              <p:ext uri="{D42A27DB-BD31-4B8C-83A1-F6EECF244321}">
                <p14:modId xmlns:p14="http://schemas.microsoft.com/office/powerpoint/2010/main" val="2893190147"/>
              </p:ext>
            </p:extLst>
          </p:nvPr>
        </p:nvGraphicFramePr>
        <p:xfrm>
          <a:off x="1684872" y="2544718"/>
          <a:ext cx="7193748" cy="3413047"/>
        </p:xfrm>
        <a:graphic>
          <a:graphicData uri="http://schemas.openxmlformats.org/drawingml/2006/table">
            <a:tbl>
              <a:tblPr firstRow="1" firstCol="1" bandRow="1">
                <a:tableStyleId>{0660B408-B3CF-4A94-85FC-2B1E0A45F4A2}</a:tableStyleId>
              </a:tblPr>
              <a:tblGrid>
                <a:gridCol w="419517">
                  <a:extLst>
                    <a:ext uri="{9D8B030D-6E8A-4147-A177-3AD203B41FA5}">
                      <a16:colId xmlns:a16="http://schemas.microsoft.com/office/drawing/2014/main" val="468404902"/>
                    </a:ext>
                  </a:extLst>
                </a:gridCol>
                <a:gridCol w="584376">
                  <a:extLst>
                    <a:ext uri="{9D8B030D-6E8A-4147-A177-3AD203B41FA5}">
                      <a16:colId xmlns:a16="http://schemas.microsoft.com/office/drawing/2014/main" val="2699923188"/>
                    </a:ext>
                  </a:extLst>
                </a:gridCol>
                <a:gridCol w="2065598">
                  <a:extLst>
                    <a:ext uri="{9D8B030D-6E8A-4147-A177-3AD203B41FA5}">
                      <a16:colId xmlns:a16="http://schemas.microsoft.com/office/drawing/2014/main" val="1064144550"/>
                    </a:ext>
                  </a:extLst>
                </a:gridCol>
                <a:gridCol w="1232710">
                  <a:extLst>
                    <a:ext uri="{9D8B030D-6E8A-4147-A177-3AD203B41FA5}">
                      <a16:colId xmlns:a16="http://schemas.microsoft.com/office/drawing/2014/main" val="532631735"/>
                    </a:ext>
                  </a:extLst>
                </a:gridCol>
                <a:gridCol w="512874">
                  <a:extLst>
                    <a:ext uri="{9D8B030D-6E8A-4147-A177-3AD203B41FA5}">
                      <a16:colId xmlns:a16="http://schemas.microsoft.com/office/drawing/2014/main" val="902642402"/>
                    </a:ext>
                  </a:extLst>
                </a:gridCol>
                <a:gridCol w="1252247">
                  <a:extLst>
                    <a:ext uri="{9D8B030D-6E8A-4147-A177-3AD203B41FA5}">
                      <a16:colId xmlns:a16="http://schemas.microsoft.com/office/drawing/2014/main" val="74687768"/>
                    </a:ext>
                  </a:extLst>
                </a:gridCol>
                <a:gridCol w="1126426">
                  <a:extLst>
                    <a:ext uri="{9D8B030D-6E8A-4147-A177-3AD203B41FA5}">
                      <a16:colId xmlns:a16="http://schemas.microsoft.com/office/drawing/2014/main" val="1138582637"/>
                    </a:ext>
                  </a:extLst>
                </a:gridCol>
              </a:tblGrid>
              <a:tr h="450152">
                <a:tc>
                  <a:txBody>
                    <a:bodyPr/>
                    <a:lstStyle/>
                    <a:p>
                      <a:pPr algn="ctr">
                        <a:lnSpc>
                          <a:spcPct val="107000"/>
                        </a:lnSpc>
                        <a:spcAft>
                          <a:spcPts val="0"/>
                        </a:spcAft>
                      </a:pPr>
                      <a:r>
                        <a:rPr lang="ru-RU" sz="800" b="1" dirty="0">
                          <a:effectLst/>
                          <a:latin typeface="+mj-lt"/>
                        </a:rPr>
                        <a:t>№</a:t>
                      </a:r>
                      <a:endParaRPr lang="ru-RU" sz="800" b="1"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Код</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Наименование</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Капитализация, </a:t>
                      </a:r>
                      <a:endParaRPr lang="ru-RU" sz="800" dirty="0" smtClean="0">
                        <a:effectLst/>
                        <a:latin typeface="+mj-lt"/>
                      </a:endParaRPr>
                    </a:p>
                    <a:p>
                      <a:pPr algn="ctr">
                        <a:lnSpc>
                          <a:spcPct val="107000"/>
                        </a:lnSpc>
                        <a:spcAft>
                          <a:spcPts val="0"/>
                        </a:spcAft>
                      </a:pPr>
                      <a:r>
                        <a:rPr lang="ru-RU" sz="800" dirty="0" smtClean="0">
                          <a:effectLst/>
                          <a:latin typeface="+mj-lt"/>
                        </a:rPr>
                        <a:t>млн</a:t>
                      </a:r>
                      <a:r>
                        <a:rPr lang="ru-RU" sz="800" baseline="0" dirty="0" smtClean="0">
                          <a:effectLst/>
                          <a:latin typeface="+mj-lt"/>
                        </a:rPr>
                        <a:t> </a:t>
                      </a:r>
                      <a:r>
                        <a:rPr lang="ru-RU" sz="800" dirty="0" smtClean="0">
                          <a:effectLst/>
                          <a:latin typeface="+mj-lt"/>
                        </a:rPr>
                        <a:t>руб</a:t>
                      </a:r>
                      <a:r>
                        <a:rPr lang="ru-RU" sz="800" dirty="0">
                          <a:effectLst/>
                          <a:latin typeface="+mj-lt"/>
                        </a:rPr>
                        <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err="1">
                          <a:effectLst/>
                          <a:latin typeface="+mj-lt"/>
                        </a:rPr>
                        <a:t>Free-Flo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Капитализация </a:t>
                      </a:r>
                      <a:r>
                        <a:rPr lang="ru-RU" sz="800" dirty="0" smtClean="0">
                          <a:effectLst/>
                          <a:latin typeface="+mj-lt"/>
                        </a:rPr>
                        <a:t/>
                      </a:r>
                      <a:br>
                        <a:rPr lang="ru-RU" sz="800" dirty="0" smtClean="0">
                          <a:effectLst/>
                          <a:latin typeface="+mj-lt"/>
                        </a:rPr>
                      </a:br>
                      <a:r>
                        <a:rPr lang="ru-RU" sz="800" dirty="0" smtClean="0">
                          <a:effectLst/>
                          <a:latin typeface="+mj-lt"/>
                        </a:rPr>
                        <a:t>с </a:t>
                      </a:r>
                      <a:r>
                        <a:rPr lang="ru-RU" sz="800" dirty="0">
                          <a:effectLst/>
                          <a:latin typeface="+mj-lt"/>
                        </a:rPr>
                        <a:t>учетом </a:t>
                      </a:r>
                      <a:r>
                        <a:rPr lang="ru-RU" sz="800" dirty="0" err="1">
                          <a:effectLst/>
                          <a:latin typeface="+mj-lt"/>
                        </a:rPr>
                        <a:t>free-float</a:t>
                      </a:r>
                      <a:r>
                        <a:rPr lang="ru-RU" sz="800" dirty="0">
                          <a:effectLst/>
                          <a:latin typeface="+mj-lt"/>
                        </a:rPr>
                        <a:t>, </a:t>
                      </a:r>
                      <a:r>
                        <a:rPr lang="ru-RU" sz="800" dirty="0" smtClean="0">
                          <a:effectLst/>
                          <a:latin typeface="+mj-lt"/>
                        </a:rPr>
                        <a:t>млн руб</a:t>
                      </a:r>
                      <a:r>
                        <a:rPr lang="ru-RU" sz="800" dirty="0">
                          <a:effectLst/>
                          <a:latin typeface="+mj-lt"/>
                        </a:rPr>
                        <a:t>.</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tc>
                  <a:txBody>
                    <a:bodyPr/>
                    <a:lstStyle/>
                    <a:p>
                      <a:pPr algn="ctr">
                        <a:lnSpc>
                          <a:spcPct val="107000"/>
                        </a:lnSpc>
                        <a:spcAft>
                          <a:spcPts val="0"/>
                        </a:spcAft>
                      </a:pPr>
                      <a:r>
                        <a:rPr lang="ru-RU" sz="800" dirty="0">
                          <a:effectLst/>
                          <a:latin typeface="+mj-lt"/>
                        </a:rPr>
                        <a:t>Вес по сост. на 31.0</a:t>
                      </a:r>
                      <a:r>
                        <a:rPr lang="en-US" sz="800" dirty="0">
                          <a:effectLst/>
                          <a:latin typeface="+mj-lt"/>
                        </a:rPr>
                        <a:t>8</a:t>
                      </a:r>
                      <a:r>
                        <a:rPr lang="ru-RU" sz="800" dirty="0">
                          <a:effectLst/>
                          <a:latin typeface="+mj-lt"/>
                        </a:rPr>
                        <a:t>.2018, %</a:t>
                      </a:r>
                      <a:endParaRPr lang="ru-RU" sz="800" dirty="0">
                        <a:effectLst/>
                        <a:latin typeface="+mj-lt"/>
                        <a:ea typeface="Calibri" panose="020F0502020204030204" pitchFamily="34" charset="0"/>
                        <a:cs typeface="Times New Roman" panose="02020603050405020304" pitchFamily="18" charset="0"/>
                      </a:endParaRPr>
                    </a:p>
                  </a:txBody>
                  <a:tcPr marL="68580" marR="68580" marT="0" marB="0" anchor="ctr">
                    <a:solidFill>
                      <a:srgbClr val="C00000"/>
                    </a:solidFill>
                  </a:tcPr>
                </a:tc>
                <a:extLst>
                  <a:ext uri="{0D108BD9-81ED-4DB2-BD59-A6C34878D82A}">
                    <a16:rowId xmlns:a16="http://schemas.microsoft.com/office/drawing/2014/main" val="816471632"/>
                  </a:ext>
                </a:extLst>
              </a:tr>
              <a:tr h="174055">
                <a:tc>
                  <a:txBody>
                    <a:bodyPr/>
                    <a:lstStyle/>
                    <a:p>
                      <a:pPr algn="ctr">
                        <a:lnSpc>
                          <a:spcPct val="107000"/>
                        </a:lnSpc>
                        <a:spcAft>
                          <a:spcPts val="0"/>
                        </a:spcAft>
                      </a:pPr>
                      <a:r>
                        <a:rPr lang="ru-RU" sz="900" b="0" dirty="0">
                          <a:effectLst/>
                          <a:latin typeface="+mj-lt"/>
                        </a:rPr>
                        <a:t>1</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dirty="0">
                          <a:solidFill>
                            <a:srgbClr val="000000"/>
                          </a:solidFill>
                          <a:effectLst/>
                          <a:latin typeface="+mj-lt"/>
                        </a:rPr>
                        <a:t>ALRS</a:t>
                      </a:r>
                    </a:p>
                  </a:txBody>
                  <a:tcPr marL="9525" marR="9525" marT="9525" marB="0" anchor="ctr"/>
                </a:tc>
                <a:tc>
                  <a:txBody>
                    <a:bodyPr/>
                    <a:lstStyle/>
                    <a:p>
                      <a:pPr algn="l" rtl="0" fontAlgn="ctr"/>
                      <a:r>
                        <a:rPr lang="ru-RU" sz="900" b="0" i="0" u="none" strike="noStrike" dirty="0">
                          <a:solidFill>
                            <a:srgbClr val="000000"/>
                          </a:solidFill>
                          <a:effectLst/>
                          <a:latin typeface="+mj-lt"/>
                        </a:rPr>
                        <a:t>АК "АЛРОСА" (ПАО), </a:t>
                      </a:r>
                      <a:r>
                        <a:rPr lang="ru-RU" sz="900" b="0" i="0" u="none" strike="noStrike" dirty="0" err="1">
                          <a:solidFill>
                            <a:srgbClr val="000000"/>
                          </a:solidFill>
                          <a:effectLst/>
                          <a:latin typeface="+mj-lt"/>
                        </a:rPr>
                        <a:t>ао</a:t>
                      </a:r>
                      <a:endParaRPr lang="ru-RU" sz="900" b="0" i="0" u="none" strike="noStrike" dirty="0">
                        <a:solidFill>
                          <a:srgbClr val="000000"/>
                        </a:solidFill>
                        <a:effectLst/>
                        <a:latin typeface="+mj-lt"/>
                      </a:endParaRPr>
                    </a:p>
                  </a:txBody>
                  <a:tcPr marL="9525" marR="9525" marT="9525" marB="0" anchor="ctr"/>
                </a:tc>
                <a:tc>
                  <a:txBody>
                    <a:bodyPr/>
                    <a:lstStyle/>
                    <a:p>
                      <a:pPr algn="r" rtl="0" fontAlgn="ctr"/>
                      <a:r>
                        <a:rPr lang="ru-RU" sz="900" b="0" i="0" u="none" strike="noStrike" dirty="0">
                          <a:solidFill>
                            <a:srgbClr val="000000"/>
                          </a:solidFill>
                          <a:effectLst/>
                          <a:latin typeface="+mj-lt"/>
                        </a:rPr>
                        <a:t>746 734</a:t>
                      </a:r>
                    </a:p>
                  </a:txBody>
                  <a:tcPr marL="9525" marR="9525" marT="9525" marB="0" anchor="ctr"/>
                </a:tc>
                <a:tc>
                  <a:txBody>
                    <a:bodyPr/>
                    <a:lstStyle/>
                    <a:p>
                      <a:pPr algn="r" rtl="0" fontAlgn="ctr"/>
                      <a:r>
                        <a:rPr lang="ru-RU" sz="900" b="0" i="0" u="none" strike="noStrike" dirty="0">
                          <a:solidFill>
                            <a:srgbClr val="000000"/>
                          </a:solidFill>
                          <a:effectLst/>
                          <a:latin typeface="+mj-lt"/>
                        </a:rPr>
                        <a:t>34%</a:t>
                      </a:r>
                    </a:p>
                  </a:txBody>
                  <a:tcPr marL="9525" marR="9525" marT="9525" marB="0" anchor="ctr"/>
                </a:tc>
                <a:tc>
                  <a:txBody>
                    <a:bodyPr/>
                    <a:lstStyle/>
                    <a:p>
                      <a:pPr algn="r" rtl="0" fontAlgn="ctr"/>
                      <a:r>
                        <a:rPr lang="ru-RU" sz="900" b="0" i="0" u="none" strike="noStrike">
                          <a:solidFill>
                            <a:srgbClr val="000000"/>
                          </a:solidFill>
                          <a:effectLst/>
                          <a:latin typeface="+mj-lt"/>
                        </a:rPr>
                        <a:t>253 890</a:t>
                      </a:r>
                    </a:p>
                  </a:txBody>
                  <a:tcPr marL="9525" marR="9525" marT="9525" marB="0" anchor="ctr"/>
                </a:tc>
                <a:tc>
                  <a:txBody>
                    <a:bodyPr/>
                    <a:lstStyle/>
                    <a:p>
                      <a:pPr algn="r" rtl="0" fontAlgn="ctr"/>
                      <a:r>
                        <a:rPr lang="ru-RU" sz="900" b="0" i="0" u="none" strike="noStrike" dirty="0">
                          <a:solidFill>
                            <a:srgbClr val="000000"/>
                          </a:solidFill>
                          <a:effectLst/>
                          <a:latin typeface="+mj-lt"/>
                        </a:rPr>
                        <a:t>8,7%</a:t>
                      </a:r>
                    </a:p>
                  </a:txBody>
                  <a:tcPr marL="9525" marR="9525" marT="9525" marB="0" anchor="ctr"/>
                </a:tc>
                <a:extLst>
                  <a:ext uri="{0D108BD9-81ED-4DB2-BD59-A6C34878D82A}">
                    <a16:rowId xmlns:a16="http://schemas.microsoft.com/office/drawing/2014/main" val="3953549136"/>
                  </a:ext>
                </a:extLst>
              </a:tr>
              <a:tr h="174055">
                <a:tc>
                  <a:txBody>
                    <a:bodyPr/>
                    <a:lstStyle/>
                    <a:p>
                      <a:pPr algn="ctr">
                        <a:lnSpc>
                          <a:spcPct val="107000"/>
                        </a:lnSpc>
                        <a:spcAft>
                          <a:spcPts val="0"/>
                        </a:spcAft>
                      </a:pPr>
                      <a:r>
                        <a:rPr lang="ru-RU" sz="900" b="0" dirty="0">
                          <a:effectLst/>
                          <a:latin typeface="+mj-lt"/>
                        </a:rPr>
                        <a:t>2</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dirty="0">
                          <a:solidFill>
                            <a:srgbClr val="000000"/>
                          </a:solidFill>
                          <a:effectLst/>
                          <a:latin typeface="+mj-lt"/>
                        </a:rPr>
                        <a:t>GMKN</a:t>
                      </a:r>
                    </a:p>
                  </a:txBody>
                  <a:tcPr marL="9525" marR="9525" marT="9525" marB="0" anchor="ctr"/>
                </a:tc>
                <a:tc>
                  <a:txBody>
                    <a:bodyPr/>
                    <a:lstStyle/>
                    <a:p>
                      <a:pPr algn="l" rtl="0" fontAlgn="ctr"/>
                      <a:r>
                        <a:rPr lang="ru-RU" sz="900" b="0" i="0" u="none" strike="noStrike" dirty="0">
                          <a:solidFill>
                            <a:srgbClr val="000000"/>
                          </a:solidFill>
                          <a:effectLst/>
                          <a:latin typeface="+mj-lt"/>
                        </a:rPr>
                        <a:t>ПАО "ГМК "Норильский никель", </a:t>
                      </a:r>
                      <a:r>
                        <a:rPr lang="ru-RU" sz="900" b="0" i="0" u="none" strike="noStrike" dirty="0" err="1">
                          <a:solidFill>
                            <a:srgbClr val="000000"/>
                          </a:solidFill>
                          <a:effectLst/>
                          <a:latin typeface="+mj-lt"/>
                        </a:rPr>
                        <a:t>ао</a:t>
                      </a:r>
                      <a:endParaRPr lang="ru-RU" sz="900" b="0" i="0" u="none" strike="noStrike" dirty="0">
                        <a:solidFill>
                          <a:srgbClr val="000000"/>
                        </a:solidFill>
                        <a:effectLst/>
                        <a:latin typeface="+mj-lt"/>
                      </a:endParaRPr>
                    </a:p>
                  </a:txBody>
                  <a:tcPr marL="9525" marR="9525" marT="9525" marB="0" anchor="ctr"/>
                </a:tc>
                <a:tc>
                  <a:txBody>
                    <a:bodyPr/>
                    <a:lstStyle/>
                    <a:p>
                      <a:pPr algn="r" rtl="0" fontAlgn="ctr"/>
                      <a:r>
                        <a:rPr lang="ru-RU" sz="900" b="0" i="0" u="none" strike="noStrike" dirty="0">
                          <a:solidFill>
                            <a:srgbClr val="000000"/>
                          </a:solidFill>
                          <a:effectLst/>
                          <a:latin typeface="+mj-lt"/>
                        </a:rPr>
                        <a:t>1 775 514</a:t>
                      </a:r>
                    </a:p>
                  </a:txBody>
                  <a:tcPr marL="9525" marR="9525" marT="9525" marB="0" anchor="ctr"/>
                </a:tc>
                <a:tc>
                  <a:txBody>
                    <a:bodyPr/>
                    <a:lstStyle/>
                    <a:p>
                      <a:pPr algn="r" rtl="0" fontAlgn="ctr"/>
                      <a:r>
                        <a:rPr lang="ru-RU" sz="900" b="0" i="0" u="none" strike="noStrike" dirty="0">
                          <a:solidFill>
                            <a:srgbClr val="000000"/>
                          </a:solidFill>
                          <a:effectLst/>
                          <a:latin typeface="+mj-lt"/>
                        </a:rPr>
                        <a:t>38%</a:t>
                      </a:r>
                    </a:p>
                  </a:txBody>
                  <a:tcPr marL="9525" marR="9525" marT="9525" marB="0" anchor="ctr"/>
                </a:tc>
                <a:tc>
                  <a:txBody>
                    <a:bodyPr/>
                    <a:lstStyle/>
                    <a:p>
                      <a:pPr algn="r" rtl="0" fontAlgn="ctr"/>
                      <a:r>
                        <a:rPr lang="ru-RU" sz="900" b="0" i="0" u="none" strike="noStrike" dirty="0">
                          <a:solidFill>
                            <a:srgbClr val="000000"/>
                          </a:solidFill>
                          <a:effectLst/>
                          <a:latin typeface="+mj-lt"/>
                        </a:rPr>
                        <a:t>674 695</a:t>
                      </a:r>
                    </a:p>
                  </a:txBody>
                  <a:tcPr marL="9525" marR="9525" marT="9525" marB="0" anchor="ctr"/>
                </a:tc>
                <a:tc>
                  <a:txBody>
                    <a:bodyPr/>
                    <a:lstStyle/>
                    <a:p>
                      <a:pPr algn="r" rtl="0" fontAlgn="ctr"/>
                      <a:r>
                        <a:rPr lang="ru-RU" sz="900" b="0" i="0" u="none" strike="noStrike" dirty="0">
                          <a:solidFill>
                            <a:srgbClr val="000000"/>
                          </a:solidFill>
                          <a:effectLst/>
                          <a:latin typeface="+mj-lt"/>
                        </a:rPr>
                        <a:t>7,8%</a:t>
                      </a:r>
                    </a:p>
                  </a:txBody>
                  <a:tcPr marL="9525" marR="9525" marT="9525" marB="0" anchor="ctr"/>
                </a:tc>
                <a:extLst>
                  <a:ext uri="{0D108BD9-81ED-4DB2-BD59-A6C34878D82A}">
                    <a16:rowId xmlns:a16="http://schemas.microsoft.com/office/drawing/2014/main" val="3952447820"/>
                  </a:ext>
                </a:extLst>
              </a:tr>
              <a:tr h="174055">
                <a:tc>
                  <a:txBody>
                    <a:bodyPr/>
                    <a:lstStyle/>
                    <a:p>
                      <a:pPr algn="ctr">
                        <a:lnSpc>
                          <a:spcPct val="107000"/>
                        </a:lnSpc>
                        <a:spcAft>
                          <a:spcPts val="0"/>
                        </a:spcAft>
                      </a:pPr>
                      <a:r>
                        <a:rPr lang="ru-RU" sz="900" b="0" dirty="0">
                          <a:effectLst/>
                          <a:latin typeface="+mj-lt"/>
                        </a:rPr>
                        <a:t>3</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NLMK</a:t>
                      </a:r>
                    </a:p>
                  </a:txBody>
                  <a:tcPr marL="9525" marR="9525" marT="9525" marB="0" anchor="ctr"/>
                </a:tc>
                <a:tc>
                  <a:txBody>
                    <a:bodyPr/>
                    <a:lstStyle/>
                    <a:p>
                      <a:pPr algn="l" rtl="0" fontAlgn="ctr"/>
                      <a:r>
                        <a:rPr lang="ru-RU" sz="900" b="0" i="0" u="none" strike="noStrike">
                          <a:solidFill>
                            <a:srgbClr val="000000"/>
                          </a:solidFill>
                          <a:effectLst/>
                          <a:latin typeface="+mj-lt"/>
                        </a:rPr>
                        <a:t>ПАО "НЛМК", ао</a:t>
                      </a:r>
                    </a:p>
                  </a:txBody>
                  <a:tcPr marL="9525" marR="9525" marT="9525" marB="0" anchor="ctr"/>
                </a:tc>
                <a:tc>
                  <a:txBody>
                    <a:bodyPr/>
                    <a:lstStyle/>
                    <a:p>
                      <a:pPr algn="r" rtl="0" fontAlgn="ctr"/>
                      <a:r>
                        <a:rPr lang="ru-RU" sz="900" b="0" i="0" u="none" strike="noStrike" dirty="0">
                          <a:solidFill>
                            <a:srgbClr val="000000"/>
                          </a:solidFill>
                          <a:effectLst/>
                          <a:latin typeface="+mj-lt"/>
                        </a:rPr>
                        <a:t>992 838</a:t>
                      </a:r>
                    </a:p>
                  </a:txBody>
                  <a:tcPr marL="9525" marR="9525" marT="9525" marB="0" anchor="ctr"/>
                </a:tc>
                <a:tc>
                  <a:txBody>
                    <a:bodyPr/>
                    <a:lstStyle/>
                    <a:p>
                      <a:pPr algn="r" rtl="0" fontAlgn="ctr"/>
                      <a:r>
                        <a:rPr lang="ru-RU" sz="900" b="0" i="0" u="none" strike="noStrike">
                          <a:solidFill>
                            <a:srgbClr val="000000"/>
                          </a:solidFill>
                          <a:effectLst/>
                          <a:latin typeface="+mj-lt"/>
                        </a:rPr>
                        <a:t>16%</a:t>
                      </a:r>
                    </a:p>
                  </a:txBody>
                  <a:tcPr marL="9525" marR="9525" marT="9525" marB="0" anchor="ctr"/>
                </a:tc>
                <a:tc>
                  <a:txBody>
                    <a:bodyPr/>
                    <a:lstStyle/>
                    <a:p>
                      <a:pPr algn="r" rtl="0" fontAlgn="ctr"/>
                      <a:r>
                        <a:rPr lang="ru-RU" sz="900" b="0" i="0" u="none" strike="noStrike" dirty="0">
                          <a:solidFill>
                            <a:srgbClr val="000000"/>
                          </a:solidFill>
                          <a:effectLst/>
                          <a:latin typeface="+mj-lt"/>
                        </a:rPr>
                        <a:t>158 854</a:t>
                      </a:r>
                    </a:p>
                  </a:txBody>
                  <a:tcPr marL="9525" marR="9525" marT="9525" marB="0" anchor="ctr"/>
                </a:tc>
                <a:tc>
                  <a:txBody>
                    <a:bodyPr/>
                    <a:lstStyle/>
                    <a:p>
                      <a:pPr algn="r" rtl="0" fontAlgn="ctr"/>
                      <a:r>
                        <a:rPr lang="ru-RU" sz="900" b="0" i="0" u="none" strike="noStrike" dirty="0">
                          <a:solidFill>
                            <a:srgbClr val="000000"/>
                          </a:solidFill>
                          <a:effectLst/>
                          <a:latin typeface="+mj-lt"/>
                        </a:rPr>
                        <a:t>7,8%</a:t>
                      </a:r>
                    </a:p>
                  </a:txBody>
                  <a:tcPr marL="9525" marR="9525" marT="9525" marB="0" anchor="ctr"/>
                </a:tc>
                <a:extLst>
                  <a:ext uri="{0D108BD9-81ED-4DB2-BD59-A6C34878D82A}">
                    <a16:rowId xmlns:a16="http://schemas.microsoft.com/office/drawing/2014/main" val="820216272"/>
                  </a:ext>
                </a:extLst>
              </a:tr>
              <a:tr h="174055">
                <a:tc>
                  <a:txBody>
                    <a:bodyPr/>
                    <a:lstStyle/>
                    <a:p>
                      <a:pPr algn="ctr">
                        <a:lnSpc>
                          <a:spcPct val="107000"/>
                        </a:lnSpc>
                        <a:spcAft>
                          <a:spcPts val="0"/>
                        </a:spcAft>
                      </a:pPr>
                      <a:r>
                        <a:rPr lang="ru-RU" sz="900" b="0" dirty="0">
                          <a:effectLst/>
                          <a:latin typeface="+mj-lt"/>
                        </a:rPr>
                        <a:t>4</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IRAO</a:t>
                      </a:r>
                    </a:p>
                  </a:txBody>
                  <a:tcPr marL="9525" marR="9525" marT="9525" marB="0" anchor="ctr"/>
                </a:tc>
                <a:tc>
                  <a:txBody>
                    <a:bodyPr/>
                    <a:lstStyle/>
                    <a:p>
                      <a:pPr algn="l" rtl="0" fontAlgn="ctr"/>
                      <a:r>
                        <a:rPr lang="ru-RU" sz="900" b="0" i="0" u="none" strike="noStrike">
                          <a:solidFill>
                            <a:srgbClr val="000000"/>
                          </a:solidFill>
                          <a:effectLst/>
                          <a:latin typeface="+mj-lt"/>
                        </a:rPr>
                        <a:t>ПАО "Интер РАО", ао</a:t>
                      </a:r>
                    </a:p>
                  </a:txBody>
                  <a:tcPr marL="9525" marR="9525" marT="9525" marB="0" anchor="ctr"/>
                </a:tc>
                <a:tc>
                  <a:txBody>
                    <a:bodyPr/>
                    <a:lstStyle/>
                    <a:p>
                      <a:pPr algn="r" rtl="0" fontAlgn="ctr"/>
                      <a:r>
                        <a:rPr lang="ru-RU" sz="900" b="0" i="0" u="none" strike="noStrike" dirty="0">
                          <a:solidFill>
                            <a:srgbClr val="000000"/>
                          </a:solidFill>
                          <a:effectLst/>
                          <a:latin typeface="+mj-lt"/>
                        </a:rPr>
                        <a:t>421 776</a:t>
                      </a:r>
                    </a:p>
                  </a:txBody>
                  <a:tcPr marL="9525" marR="9525" marT="9525" marB="0" anchor="ctr"/>
                </a:tc>
                <a:tc>
                  <a:txBody>
                    <a:bodyPr/>
                    <a:lstStyle/>
                    <a:p>
                      <a:pPr algn="r" rtl="0" fontAlgn="ctr"/>
                      <a:r>
                        <a:rPr lang="ru-RU" sz="900" b="0" i="0" u="none" strike="noStrike" dirty="0">
                          <a:solidFill>
                            <a:srgbClr val="000000"/>
                          </a:solidFill>
                          <a:effectLst/>
                          <a:latin typeface="+mj-lt"/>
                        </a:rPr>
                        <a:t>33%</a:t>
                      </a:r>
                    </a:p>
                  </a:txBody>
                  <a:tcPr marL="9525" marR="9525" marT="9525" marB="0" anchor="ctr"/>
                </a:tc>
                <a:tc>
                  <a:txBody>
                    <a:bodyPr/>
                    <a:lstStyle/>
                    <a:p>
                      <a:pPr algn="r" rtl="0" fontAlgn="ctr"/>
                      <a:r>
                        <a:rPr lang="ru-RU" sz="900" b="0" i="0" u="none" strike="noStrike" dirty="0">
                          <a:solidFill>
                            <a:srgbClr val="000000"/>
                          </a:solidFill>
                          <a:effectLst/>
                          <a:latin typeface="+mj-lt"/>
                        </a:rPr>
                        <a:t>139 186</a:t>
                      </a:r>
                    </a:p>
                  </a:txBody>
                  <a:tcPr marL="9525" marR="9525" marT="9525" marB="0" anchor="ctr"/>
                </a:tc>
                <a:tc>
                  <a:txBody>
                    <a:bodyPr/>
                    <a:lstStyle/>
                    <a:p>
                      <a:pPr algn="r" rtl="0" fontAlgn="ctr"/>
                      <a:r>
                        <a:rPr lang="ru-RU" sz="900" b="0" i="0" u="none" strike="noStrike">
                          <a:solidFill>
                            <a:srgbClr val="000000"/>
                          </a:solidFill>
                          <a:effectLst/>
                          <a:latin typeface="+mj-lt"/>
                        </a:rPr>
                        <a:t>7,6%</a:t>
                      </a:r>
                    </a:p>
                  </a:txBody>
                  <a:tcPr marL="9525" marR="9525" marT="9525" marB="0" anchor="ctr"/>
                </a:tc>
                <a:extLst>
                  <a:ext uri="{0D108BD9-81ED-4DB2-BD59-A6C34878D82A}">
                    <a16:rowId xmlns:a16="http://schemas.microsoft.com/office/drawing/2014/main" val="2268599974"/>
                  </a:ext>
                </a:extLst>
              </a:tr>
              <a:tr h="174055">
                <a:tc>
                  <a:txBody>
                    <a:bodyPr/>
                    <a:lstStyle/>
                    <a:p>
                      <a:pPr algn="ctr">
                        <a:lnSpc>
                          <a:spcPct val="107000"/>
                        </a:lnSpc>
                        <a:spcAft>
                          <a:spcPts val="0"/>
                        </a:spcAft>
                      </a:pPr>
                      <a:r>
                        <a:rPr lang="ru-RU" sz="900" b="0" dirty="0">
                          <a:effectLst/>
                          <a:latin typeface="+mj-lt"/>
                        </a:rPr>
                        <a:t>5</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LKOH</a:t>
                      </a:r>
                    </a:p>
                  </a:txBody>
                  <a:tcPr marL="9525" marR="9525" marT="9525" marB="0" anchor="ctr"/>
                </a:tc>
                <a:tc>
                  <a:txBody>
                    <a:bodyPr/>
                    <a:lstStyle/>
                    <a:p>
                      <a:pPr algn="l" rtl="0" fontAlgn="ctr"/>
                      <a:r>
                        <a:rPr lang="ru-RU" sz="900" b="0" i="0" u="none" strike="noStrike">
                          <a:solidFill>
                            <a:srgbClr val="000000"/>
                          </a:solidFill>
                          <a:effectLst/>
                          <a:latin typeface="+mj-lt"/>
                        </a:rPr>
                        <a:t>ПАО "ЛУКОЙЛ", ао</a:t>
                      </a:r>
                    </a:p>
                  </a:txBody>
                  <a:tcPr marL="9525" marR="9525" marT="9525" marB="0" anchor="ctr"/>
                </a:tc>
                <a:tc>
                  <a:txBody>
                    <a:bodyPr/>
                    <a:lstStyle/>
                    <a:p>
                      <a:pPr algn="r" rtl="0" fontAlgn="ctr"/>
                      <a:r>
                        <a:rPr lang="ru-RU" sz="900" b="0" i="0" u="none" strike="noStrike">
                          <a:solidFill>
                            <a:srgbClr val="000000"/>
                          </a:solidFill>
                          <a:effectLst/>
                          <a:latin typeface="+mj-lt"/>
                        </a:rPr>
                        <a:t>3 998 073</a:t>
                      </a:r>
                    </a:p>
                  </a:txBody>
                  <a:tcPr marL="9525" marR="9525" marT="9525" marB="0" anchor="ctr"/>
                </a:tc>
                <a:tc>
                  <a:txBody>
                    <a:bodyPr/>
                    <a:lstStyle/>
                    <a:p>
                      <a:pPr algn="r" rtl="0" fontAlgn="ctr"/>
                      <a:r>
                        <a:rPr lang="ru-RU" sz="900" b="0" i="0" u="none" strike="noStrike" dirty="0">
                          <a:solidFill>
                            <a:srgbClr val="000000"/>
                          </a:solidFill>
                          <a:effectLst/>
                          <a:latin typeface="+mj-lt"/>
                        </a:rPr>
                        <a:t>46%</a:t>
                      </a:r>
                    </a:p>
                  </a:txBody>
                  <a:tcPr marL="9525" marR="9525" marT="9525" marB="0" anchor="ctr"/>
                </a:tc>
                <a:tc>
                  <a:txBody>
                    <a:bodyPr/>
                    <a:lstStyle/>
                    <a:p>
                      <a:pPr algn="r" rtl="0" fontAlgn="ctr"/>
                      <a:r>
                        <a:rPr lang="ru-RU" sz="900" b="0" i="0" u="none" strike="noStrike" dirty="0">
                          <a:solidFill>
                            <a:srgbClr val="000000"/>
                          </a:solidFill>
                          <a:effectLst/>
                          <a:latin typeface="+mj-lt"/>
                        </a:rPr>
                        <a:t>1 839 113</a:t>
                      </a:r>
                    </a:p>
                  </a:txBody>
                  <a:tcPr marL="9525" marR="9525" marT="9525" marB="0" anchor="ctr"/>
                </a:tc>
                <a:tc>
                  <a:txBody>
                    <a:bodyPr/>
                    <a:lstStyle/>
                    <a:p>
                      <a:pPr algn="r" rtl="0" fontAlgn="ctr"/>
                      <a:r>
                        <a:rPr lang="ru-RU" sz="900" b="0" i="0" u="none" strike="noStrike" dirty="0">
                          <a:solidFill>
                            <a:srgbClr val="000000"/>
                          </a:solidFill>
                          <a:effectLst/>
                          <a:latin typeface="+mj-lt"/>
                        </a:rPr>
                        <a:t>7,4%</a:t>
                      </a:r>
                    </a:p>
                  </a:txBody>
                  <a:tcPr marL="9525" marR="9525" marT="9525" marB="0" anchor="ctr"/>
                </a:tc>
                <a:extLst>
                  <a:ext uri="{0D108BD9-81ED-4DB2-BD59-A6C34878D82A}">
                    <a16:rowId xmlns:a16="http://schemas.microsoft.com/office/drawing/2014/main" val="1810476281"/>
                  </a:ext>
                </a:extLst>
              </a:tr>
              <a:tr h="174055">
                <a:tc>
                  <a:txBody>
                    <a:bodyPr/>
                    <a:lstStyle/>
                    <a:p>
                      <a:pPr algn="ctr">
                        <a:lnSpc>
                          <a:spcPct val="107000"/>
                        </a:lnSpc>
                        <a:spcAft>
                          <a:spcPts val="0"/>
                        </a:spcAft>
                      </a:pPr>
                      <a:r>
                        <a:rPr lang="ru-RU" sz="900" b="0" dirty="0">
                          <a:effectLst/>
                          <a:latin typeface="+mj-lt"/>
                        </a:rPr>
                        <a:t>6</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AFKS</a:t>
                      </a:r>
                    </a:p>
                  </a:txBody>
                  <a:tcPr marL="9525" marR="9525" marT="9525" marB="0" anchor="ctr"/>
                </a:tc>
                <a:tc>
                  <a:txBody>
                    <a:bodyPr/>
                    <a:lstStyle/>
                    <a:p>
                      <a:pPr algn="l" rtl="0" fontAlgn="ctr"/>
                      <a:r>
                        <a:rPr lang="ru-RU" sz="900" b="0" i="0" u="none" strike="noStrike">
                          <a:solidFill>
                            <a:srgbClr val="000000"/>
                          </a:solidFill>
                          <a:effectLst/>
                          <a:latin typeface="+mj-lt"/>
                        </a:rPr>
                        <a:t>ПАО АФК "Система", ао</a:t>
                      </a:r>
                    </a:p>
                  </a:txBody>
                  <a:tcPr marL="9525" marR="9525" marT="9525" marB="0" anchor="ctr"/>
                </a:tc>
                <a:tc>
                  <a:txBody>
                    <a:bodyPr/>
                    <a:lstStyle/>
                    <a:p>
                      <a:pPr algn="r" rtl="0" fontAlgn="ctr"/>
                      <a:r>
                        <a:rPr lang="ru-RU" sz="900" b="0" i="0" u="none" strike="noStrike">
                          <a:solidFill>
                            <a:srgbClr val="000000"/>
                          </a:solidFill>
                          <a:effectLst/>
                          <a:latin typeface="+mj-lt"/>
                        </a:rPr>
                        <a:t>79 999</a:t>
                      </a:r>
                    </a:p>
                  </a:txBody>
                  <a:tcPr marL="9525" marR="9525" marT="9525" marB="0" anchor="ctr"/>
                </a:tc>
                <a:tc>
                  <a:txBody>
                    <a:bodyPr/>
                    <a:lstStyle/>
                    <a:p>
                      <a:pPr algn="r" rtl="0" fontAlgn="ctr"/>
                      <a:r>
                        <a:rPr lang="ru-RU" sz="900" b="0" i="0" u="none" strike="noStrike" dirty="0">
                          <a:solidFill>
                            <a:srgbClr val="000000"/>
                          </a:solidFill>
                          <a:effectLst/>
                          <a:latin typeface="+mj-lt"/>
                        </a:rPr>
                        <a:t>36%</a:t>
                      </a:r>
                    </a:p>
                  </a:txBody>
                  <a:tcPr marL="9525" marR="9525" marT="9525" marB="0" anchor="ctr"/>
                </a:tc>
                <a:tc>
                  <a:txBody>
                    <a:bodyPr/>
                    <a:lstStyle/>
                    <a:p>
                      <a:pPr algn="r" rtl="0" fontAlgn="ctr"/>
                      <a:r>
                        <a:rPr lang="ru-RU" sz="900" b="0" i="0" u="none" strike="noStrike" dirty="0">
                          <a:solidFill>
                            <a:srgbClr val="000000"/>
                          </a:solidFill>
                          <a:effectLst/>
                          <a:latin typeface="+mj-lt"/>
                        </a:rPr>
                        <a:t>28 799</a:t>
                      </a:r>
                    </a:p>
                  </a:txBody>
                  <a:tcPr marL="9525" marR="9525" marT="9525" marB="0" anchor="ctr"/>
                </a:tc>
                <a:tc>
                  <a:txBody>
                    <a:bodyPr/>
                    <a:lstStyle/>
                    <a:p>
                      <a:pPr algn="r" rtl="0" fontAlgn="ctr"/>
                      <a:r>
                        <a:rPr lang="ru-RU" sz="900" b="0" i="0" u="none" strike="noStrike" dirty="0">
                          <a:solidFill>
                            <a:srgbClr val="000000"/>
                          </a:solidFill>
                          <a:effectLst/>
                          <a:latin typeface="+mj-lt"/>
                        </a:rPr>
                        <a:t>6,4%</a:t>
                      </a:r>
                    </a:p>
                  </a:txBody>
                  <a:tcPr marL="9525" marR="9525" marT="9525" marB="0" anchor="ctr"/>
                </a:tc>
                <a:extLst>
                  <a:ext uri="{0D108BD9-81ED-4DB2-BD59-A6C34878D82A}">
                    <a16:rowId xmlns:a16="http://schemas.microsoft.com/office/drawing/2014/main" val="1929168341"/>
                  </a:ext>
                </a:extLst>
              </a:tr>
              <a:tr h="174055">
                <a:tc>
                  <a:txBody>
                    <a:bodyPr/>
                    <a:lstStyle/>
                    <a:p>
                      <a:pPr algn="ctr">
                        <a:lnSpc>
                          <a:spcPct val="107000"/>
                        </a:lnSpc>
                        <a:spcAft>
                          <a:spcPts val="0"/>
                        </a:spcAft>
                      </a:pPr>
                      <a:r>
                        <a:rPr lang="ru-RU" sz="900" b="0" dirty="0">
                          <a:effectLst/>
                          <a:latin typeface="+mj-lt"/>
                        </a:rPr>
                        <a:t>7</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GAZP</a:t>
                      </a:r>
                    </a:p>
                  </a:txBody>
                  <a:tcPr marL="9525" marR="9525" marT="9525" marB="0" anchor="ctr"/>
                </a:tc>
                <a:tc>
                  <a:txBody>
                    <a:bodyPr/>
                    <a:lstStyle/>
                    <a:p>
                      <a:pPr algn="l" rtl="0" fontAlgn="ctr"/>
                      <a:r>
                        <a:rPr lang="ru-RU" sz="900" b="0" i="0" u="none" strike="noStrike">
                          <a:solidFill>
                            <a:srgbClr val="000000"/>
                          </a:solidFill>
                          <a:effectLst/>
                          <a:latin typeface="+mj-lt"/>
                        </a:rPr>
                        <a:t>ПАО "Газпром", ао</a:t>
                      </a:r>
                    </a:p>
                  </a:txBody>
                  <a:tcPr marL="9525" marR="9525" marT="9525" marB="0" anchor="ctr"/>
                </a:tc>
                <a:tc>
                  <a:txBody>
                    <a:bodyPr/>
                    <a:lstStyle/>
                    <a:p>
                      <a:pPr algn="r" rtl="0" fontAlgn="ctr"/>
                      <a:r>
                        <a:rPr lang="ru-RU" sz="900" b="0" i="0" u="none" strike="noStrike">
                          <a:solidFill>
                            <a:srgbClr val="000000"/>
                          </a:solidFill>
                          <a:effectLst/>
                          <a:latin typeface="+mj-lt"/>
                        </a:rPr>
                        <a:t>3 549 843</a:t>
                      </a:r>
                    </a:p>
                  </a:txBody>
                  <a:tcPr marL="9525" marR="9525" marT="9525" marB="0" anchor="ctr"/>
                </a:tc>
                <a:tc>
                  <a:txBody>
                    <a:bodyPr/>
                    <a:lstStyle/>
                    <a:p>
                      <a:pPr algn="r" rtl="0" fontAlgn="ctr"/>
                      <a:r>
                        <a:rPr lang="ru-RU" sz="900" b="0" i="0" u="none" strike="noStrike">
                          <a:solidFill>
                            <a:srgbClr val="000000"/>
                          </a:solidFill>
                          <a:effectLst/>
                          <a:latin typeface="+mj-lt"/>
                        </a:rPr>
                        <a:t>46%</a:t>
                      </a:r>
                    </a:p>
                  </a:txBody>
                  <a:tcPr marL="9525" marR="9525" marT="9525" marB="0" anchor="ctr"/>
                </a:tc>
                <a:tc>
                  <a:txBody>
                    <a:bodyPr/>
                    <a:lstStyle/>
                    <a:p>
                      <a:pPr algn="r" rtl="0" fontAlgn="ctr"/>
                      <a:r>
                        <a:rPr lang="ru-RU" sz="900" b="0" i="0" u="none" strike="noStrike" dirty="0">
                          <a:solidFill>
                            <a:srgbClr val="000000"/>
                          </a:solidFill>
                          <a:effectLst/>
                          <a:latin typeface="+mj-lt"/>
                        </a:rPr>
                        <a:t>1 632 928</a:t>
                      </a:r>
                    </a:p>
                  </a:txBody>
                  <a:tcPr marL="9525" marR="9525" marT="9525" marB="0" anchor="ctr"/>
                </a:tc>
                <a:tc>
                  <a:txBody>
                    <a:bodyPr/>
                    <a:lstStyle/>
                    <a:p>
                      <a:pPr algn="r" rtl="0" fontAlgn="ctr"/>
                      <a:r>
                        <a:rPr lang="ru-RU" sz="900" b="0" i="0" u="none" strike="noStrike" dirty="0">
                          <a:solidFill>
                            <a:srgbClr val="000000"/>
                          </a:solidFill>
                          <a:effectLst/>
                          <a:latin typeface="+mj-lt"/>
                        </a:rPr>
                        <a:t>6,4%</a:t>
                      </a:r>
                    </a:p>
                  </a:txBody>
                  <a:tcPr marL="9525" marR="9525" marT="9525" marB="0" anchor="ctr"/>
                </a:tc>
                <a:extLst>
                  <a:ext uri="{0D108BD9-81ED-4DB2-BD59-A6C34878D82A}">
                    <a16:rowId xmlns:a16="http://schemas.microsoft.com/office/drawing/2014/main" val="1321763196"/>
                  </a:ext>
                </a:extLst>
              </a:tr>
              <a:tr h="174055">
                <a:tc>
                  <a:txBody>
                    <a:bodyPr/>
                    <a:lstStyle/>
                    <a:p>
                      <a:pPr algn="ctr">
                        <a:lnSpc>
                          <a:spcPct val="107000"/>
                        </a:lnSpc>
                        <a:spcAft>
                          <a:spcPts val="0"/>
                        </a:spcAft>
                      </a:pPr>
                      <a:r>
                        <a:rPr lang="ru-RU" sz="900" b="0" dirty="0">
                          <a:effectLst/>
                          <a:latin typeface="+mj-lt"/>
                        </a:rPr>
                        <a:t>8</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RTKM</a:t>
                      </a:r>
                    </a:p>
                  </a:txBody>
                  <a:tcPr marL="9525" marR="9525" marT="9525" marB="0" anchor="ctr"/>
                </a:tc>
                <a:tc>
                  <a:txBody>
                    <a:bodyPr/>
                    <a:lstStyle/>
                    <a:p>
                      <a:pPr algn="l" rtl="0" fontAlgn="ctr"/>
                      <a:r>
                        <a:rPr lang="ru-RU" sz="900" b="0" i="0" u="none" strike="noStrike">
                          <a:solidFill>
                            <a:srgbClr val="000000"/>
                          </a:solidFill>
                          <a:effectLst/>
                          <a:latin typeface="+mj-lt"/>
                        </a:rPr>
                        <a:t>ПАО "Ростелеком", ао</a:t>
                      </a:r>
                    </a:p>
                  </a:txBody>
                  <a:tcPr marL="9525" marR="9525" marT="9525" marB="0" anchor="ctr"/>
                </a:tc>
                <a:tc>
                  <a:txBody>
                    <a:bodyPr/>
                    <a:lstStyle/>
                    <a:p>
                      <a:pPr algn="r" rtl="0" fontAlgn="ctr"/>
                      <a:r>
                        <a:rPr lang="ru-RU" sz="900" b="0" i="0" u="none" strike="noStrike">
                          <a:solidFill>
                            <a:srgbClr val="000000"/>
                          </a:solidFill>
                          <a:effectLst/>
                          <a:latin typeface="+mj-lt"/>
                        </a:rPr>
                        <a:t>174 064</a:t>
                      </a:r>
                    </a:p>
                  </a:txBody>
                  <a:tcPr marL="9525" marR="9525" marT="9525" marB="0" anchor="ctr"/>
                </a:tc>
                <a:tc>
                  <a:txBody>
                    <a:bodyPr/>
                    <a:lstStyle/>
                    <a:p>
                      <a:pPr algn="r" rtl="0" fontAlgn="ctr"/>
                      <a:r>
                        <a:rPr lang="ru-RU" sz="900" b="0" i="0" u="none" strike="noStrike">
                          <a:solidFill>
                            <a:srgbClr val="000000"/>
                          </a:solidFill>
                          <a:effectLst/>
                          <a:latin typeface="+mj-lt"/>
                        </a:rPr>
                        <a:t>32%</a:t>
                      </a:r>
                    </a:p>
                  </a:txBody>
                  <a:tcPr marL="9525" marR="9525" marT="9525" marB="0" anchor="ctr"/>
                </a:tc>
                <a:tc>
                  <a:txBody>
                    <a:bodyPr/>
                    <a:lstStyle/>
                    <a:p>
                      <a:pPr algn="r" rtl="0" fontAlgn="ctr"/>
                      <a:r>
                        <a:rPr lang="ru-RU" sz="900" b="0" i="0" u="none" strike="noStrike" dirty="0">
                          <a:solidFill>
                            <a:srgbClr val="000000"/>
                          </a:solidFill>
                          <a:effectLst/>
                          <a:latin typeface="+mj-lt"/>
                        </a:rPr>
                        <a:t>55 701</a:t>
                      </a:r>
                    </a:p>
                  </a:txBody>
                  <a:tcPr marL="9525" marR="9525" marT="9525" marB="0" anchor="ctr"/>
                </a:tc>
                <a:tc>
                  <a:txBody>
                    <a:bodyPr/>
                    <a:lstStyle/>
                    <a:p>
                      <a:pPr algn="r" rtl="0" fontAlgn="ctr"/>
                      <a:r>
                        <a:rPr lang="ru-RU" sz="900" b="0" i="0" u="none" strike="noStrike" dirty="0">
                          <a:solidFill>
                            <a:srgbClr val="000000"/>
                          </a:solidFill>
                          <a:effectLst/>
                          <a:latin typeface="+mj-lt"/>
                        </a:rPr>
                        <a:t>6,4%</a:t>
                      </a:r>
                    </a:p>
                  </a:txBody>
                  <a:tcPr marL="9525" marR="9525" marT="9525" marB="0" anchor="ctr"/>
                </a:tc>
                <a:extLst>
                  <a:ext uri="{0D108BD9-81ED-4DB2-BD59-A6C34878D82A}">
                    <a16:rowId xmlns:a16="http://schemas.microsoft.com/office/drawing/2014/main" val="1771307763"/>
                  </a:ext>
                </a:extLst>
              </a:tr>
              <a:tr h="174055">
                <a:tc>
                  <a:txBody>
                    <a:bodyPr/>
                    <a:lstStyle/>
                    <a:p>
                      <a:pPr algn="ctr">
                        <a:lnSpc>
                          <a:spcPct val="107000"/>
                        </a:lnSpc>
                        <a:spcAft>
                          <a:spcPts val="0"/>
                        </a:spcAft>
                      </a:pPr>
                      <a:r>
                        <a:rPr lang="ru-RU" sz="900" b="0" dirty="0">
                          <a:effectLst/>
                          <a:latin typeface="+mj-lt"/>
                        </a:rPr>
                        <a:t>9</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RUAL</a:t>
                      </a:r>
                    </a:p>
                  </a:txBody>
                  <a:tcPr marL="9525" marR="9525" marT="9525" marB="0" anchor="ctr"/>
                </a:tc>
                <a:tc>
                  <a:txBody>
                    <a:bodyPr/>
                    <a:lstStyle/>
                    <a:p>
                      <a:pPr algn="l" rtl="0" fontAlgn="ctr"/>
                      <a:r>
                        <a:rPr lang="ru-RU" sz="900" b="0" i="0" u="none" strike="noStrike">
                          <a:solidFill>
                            <a:srgbClr val="000000"/>
                          </a:solidFill>
                          <a:effectLst/>
                          <a:latin typeface="+mj-lt"/>
                        </a:rPr>
                        <a:t>Юнайтед Компани РУСАЛ Плс, акции иностранного эмитента</a:t>
                      </a:r>
                    </a:p>
                  </a:txBody>
                  <a:tcPr marL="9525" marR="9525" marT="9525" marB="0" anchor="ctr"/>
                </a:tc>
                <a:tc>
                  <a:txBody>
                    <a:bodyPr/>
                    <a:lstStyle/>
                    <a:p>
                      <a:pPr algn="r" rtl="0" fontAlgn="ctr"/>
                      <a:r>
                        <a:rPr lang="ru-RU" sz="900" b="0" i="0" u="none" strike="noStrike">
                          <a:solidFill>
                            <a:srgbClr val="000000"/>
                          </a:solidFill>
                          <a:effectLst/>
                          <a:latin typeface="+mj-lt"/>
                        </a:rPr>
                        <a:t>328 929</a:t>
                      </a:r>
                    </a:p>
                  </a:txBody>
                  <a:tcPr marL="9525" marR="9525" marT="9525" marB="0" anchor="ctr"/>
                </a:tc>
                <a:tc>
                  <a:txBody>
                    <a:bodyPr/>
                    <a:lstStyle/>
                    <a:p>
                      <a:pPr algn="r" rtl="0" fontAlgn="ctr"/>
                      <a:r>
                        <a:rPr lang="ru-RU" sz="900" b="0" i="0" u="none" strike="noStrike">
                          <a:solidFill>
                            <a:srgbClr val="000000"/>
                          </a:solidFill>
                          <a:effectLst/>
                          <a:latin typeface="+mj-lt"/>
                        </a:rPr>
                        <a:t>16%</a:t>
                      </a:r>
                    </a:p>
                  </a:txBody>
                  <a:tcPr marL="9525" marR="9525" marT="9525" marB="0" anchor="ctr"/>
                </a:tc>
                <a:tc>
                  <a:txBody>
                    <a:bodyPr/>
                    <a:lstStyle/>
                    <a:p>
                      <a:pPr algn="r" rtl="0" fontAlgn="ctr"/>
                      <a:r>
                        <a:rPr lang="ru-RU" sz="900" b="0" i="0" u="none" strike="noStrike" dirty="0">
                          <a:solidFill>
                            <a:srgbClr val="000000"/>
                          </a:solidFill>
                          <a:effectLst/>
                          <a:latin typeface="+mj-lt"/>
                        </a:rPr>
                        <a:t>52 629</a:t>
                      </a:r>
                    </a:p>
                  </a:txBody>
                  <a:tcPr marL="9525" marR="9525" marT="9525" marB="0" anchor="ctr"/>
                </a:tc>
                <a:tc>
                  <a:txBody>
                    <a:bodyPr/>
                    <a:lstStyle/>
                    <a:p>
                      <a:pPr algn="r" rtl="0" fontAlgn="ctr"/>
                      <a:r>
                        <a:rPr lang="ru-RU" sz="900" b="0" i="0" u="none" strike="noStrike" dirty="0">
                          <a:solidFill>
                            <a:srgbClr val="000000"/>
                          </a:solidFill>
                          <a:effectLst/>
                          <a:latin typeface="+mj-lt"/>
                        </a:rPr>
                        <a:t>5,7%</a:t>
                      </a:r>
                    </a:p>
                  </a:txBody>
                  <a:tcPr marL="9525" marR="9525" marT="9525" marB="0" anchor="ctr"/>
                </a:tc>
                <a:extLst>
                  <a:ext uri="{0D108BD9-81ED-4DB2-BD59-A6C34878D82A}">
                    <a16:rowId xmlns:a16="http://schemas.microsoft.com/office/drawing/2014/main" val="2943530782"/>
                  </a:ext>
                </a:extLst>
              </a:tr>
              <a:tr h="174055">
                <a:tc>
                  <a:txBody>
                    <a:bodyPr/>
                    <a:lstStyle/>
                    <a:p>
                      <a:pPr algn="ctr">
                        <a:lnSpc>
                          <a:spcPct val="107000"/>
                        </a:lnSpc>
                        <a:spcAft>
                          <a:spcPts val="0"/>
                        </a:spcAft>
                      </a:pPr>
                      <a:r>
                        <a:rPr lang="ru-RU" sz="900" b="0" dirty="0">
                          <a:effectLst/>
                          <a:latin typeface="+mj-lt"/>
                        </a:rPr>
                        <a:t>10</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SBER</a:t>
                      </a:r>
                    </a:p>
                  </a:txBody>
                  <a:tcPr marL="9525" marR="9525" marT="9525" marB="0" anchor="ctr"/>
                </a:tc>
                <a:tc>
                  <a:txBody>
                    <a:bodyPr/>
                    <a:lstStyle/>
                    <a:p>
                      <a:pPr algn="l" rtl="0" fontAlgn="ctr"/>
                      <a:r>
                        <a:rPr lang="ru-RU" sz="900" b="0" i="0" u="none" strike="noStrike">
                          <a:solidFill>
                            <a:srgbClr val="000000"/>
                          </a:solidFill>
                          <a:effectLst/>
                          <a:latin typeface="+mj-lt"/>
                        </a:rPr>
                        <a:t>ПАО Сбербанк, ао</a:t>
                      </a:r>
                    </a:p>
                  </a:txBody>
                  <a:tcPr marL="9525" marR="9525" marT="9525" marB="0" anchor="ctr"/>
                </a:tc>
                <a:tc>
                  <a:txBody>
                    <a:bodyPr/>
                    <a:lstStyle/>
                    <a:p>
                      <a:pPr algn="r" rtl="0" fontAlgn="ctr"/>
                      <a:r>
                        <a:rPr lang="ru-RU" sz="900" b="0" i="0" u="none" strike="noStrike">
                          <a:solidFill>
                            <a:srgbClr val="000000"/>
                          </a:solidFill>
                          <a:effectLst/>
                          <a:latin typeface="+mj-lt"/>
                        </a:rPr>
                        <a:t>3 928 825</a:t>
                      </a:r>
                    </a:p>
                  </a:txBody>
                  <a:tcPr marL="9525" marR="9525" marT="9525" marB="0" anchor="ctr"/>
                </a:tc>
                <a:tc>
                  <a:txBody>
                    <a:bodyPr/>
                    <a:lstStyle/>
                    <a:p>
                      <a:pPr algn="r" rtl="0" fontAlgn="ctr"/>
                      <a:r>
                        <a:rPr lang="ru-RU" sz="900" b="0" i="0" u="none" strike="noStrike">
                          <a:solidFill>
                            <a:srgbClr val="000000"/>
                          </a:solidFill>
                          <a:effectLst/>
                          <a:latin typeface="+mj-lt"/>
                        </a:rPr>
                        <a:t>48%</a:t>
                      </a:r>
                    </a:p>
                  </a:txBody>
                  <a:tcPr marL="9525" marR="9525" marT="9525" marB="0" anchor="ctr"/>
                </a:tc>
                <a:tc>
                  <a:txBody>
                    <a:bodyPr/>
                    <a:lstStyle/>
                    <a:p>
                      <a:pPr algn="r" rtl="0" fontAlgn="ctr"/>
                      <a:r>
                        <a:rPr lang="ru-RU" sz="900" b="0" i="0" u="none" strike="noStrike" dirty="0">
                          <a:solidFill>
                            <a:srgbClr val="000000"/>
                          </a:solidFill>
                          <a:effectLst/>
                          <a:latin typeface="+mj-lt"/>
                        </a:rPr>
                        <a:t>1 885 836</a:t>
                      </a:r>
                    </a:p>
                  </a:txBody>
                  <a:tcPr marL="9525" marR="9525" marT="9525" marB="0" anchor="ctr"/>
                </a:tc>
                <a:tc>
                  <a:txBody>
                    <a:bodyPr/>
                    <a:lstStyle/>
                    <a:p>
                      <a:pPr algn="r" rtl="0" fontAlgn="ctr"/>
                      <a:r>
                        <a:rPr lang="ru-RU" sz="900" b="0" i="0" u="none" strike="noStrike" dirty="0">
                          <a:solidFill>
                            <a:srgbClr val="000000"/>
                          </a:solidFill>
                          <a:effectLst/>
                          <a:latin typeface="+mj-lt"/>
                        </a:rPr>
                        <a:t>5,7%</a:t>
                      </a:r>
                    </a:p>
                  </a:txBody>
                  <a:tcPr marL="9525" marR="9525" marT="9525" marB="0" anchor="ctr"/>
                </a:tc>
                <a:extLst>
                  <a:ext uri="{0D108BD9-81ED-4DB2-BD59-A6C34878D82A}">
                    <a16:rowId xmlns:a16="http://schemas.microsoft.com/office/drawing/2014/main" val="1723804871"/>
                  </a:ext>
                </a:extLst>
              </a:tr>
              <a:tr h="174055">
                <a:tc>
                  <a:txBody>
                    <a:bodyPr/>
                    <a:lstStyle/>
                    <a:p>
                      <a:pPr algn="ctr">
                        <a:lnSpc>
                          <a:spcPct val="107000"/>
                        </a:lnSpc>
                        <a:spcAft>
                          <a:spcPts val="0"/>
                        </a:spcAft>
                      </a:pPr>
                      <a:r>
                        <a:rPr lang="ru-RU" sz="900" b="0" dirty="0">
                          <a:effectLst/>
                          <a:latin typeface="+mj-lt"/>
                        </a:rPr>
                        <a:t>11</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KMAZ</a:t>
                      </a:r>
                    </a:p>
                  </a:txBody>
                  <a:tcPr marL="9525" marR="9525" marT="9525" marB="0" anchor="ctr"/>
                </a:tc>
                <a:tc>
                  <a:txBody>
                    <a:bodyPr/>
                    <a:lstStyle/>
                    <a:p>
                      <a:pPr algn="l" rtl="0" fontAlgn="ctr"/>
                      <a:r>
                        <a:rPr lang="ru-RU" sz="900" b="0" i="0" u="none" strike="noStrike">
                          <a:solidFill>
                            <a:srgbClr val="000000"/>
                          </a:solidFill>
                          <a:effectLst/>
                          <a:latin typeface="+mj-lt"/>
                        </a:rPr>
                        <a:t>ПАО "КАМАЗ", ао</a:t>
                      </a:r>
                    </a:p>
                  </a:txBody>
                  <a:tcPr marL="9525" marR="9525" marT="9525" marB="0" anchor="ctr"/>
                </a:tc>
                <a:tc>
                  <a:txBody>
                    <a:bodyPr/>
                    <a:lstStyle/>
                    <a:p>
                      <a:pPr algn="r" rtl="0" fontAlgn="ctr"/>
                      <a:r>
                        <a:rPr lang="ru-RU" sz="900" b="0" i="0" u="none" strike="noStrike">
                          <a:solidFill>
                            <a:srgbClr val="000000"/>
                          </a:solidFill>
                          <a:effectLst/>
                          <a:latin typeface="+mj-lt"/>
                        </a:rPr>
                        <a:t>44 202</a:t>
                      </a:r>
                    </a:p>
                  </a:txBody>
                  <a:tcPr marL="9525" marR="9525" marT="9525" marB="0" anchor="ctr"/>
                </a:tc>
                <a:tc>
                  <a:txBody>
                    <a:bodyPr/>
                    <a:lstStyle/>
                    <a:p>
                      <a:pPr algn="r" rtl="0" fontAlgn="ctr"/>
                      <a:r>
                        <a:rPr lang="ru-RU" sz="900" b="0" i="0" u="none" strike="noStrike">
                          <a:solidFill>
                            <a:srgbClr val="000000"/>
                          </a:solidFill>
                          <a:effectLst/>
                          <a:latin typeface="+mj-lt"/>
                        </a:rPr>
                        <a:t>4%</a:t>
                      </a:r>
                    </a:p>
                  </a:txBody>
                  <a:tcPr marL="9525" marR="9525" marT="9525" marB="0" anchor="ctr"/>
                </a:tc>
                <a:tc>
                  <a:txBody>
                    <a:bodyPr/>
                    <a:lstStyle/>
                    <a:p>
                      <a:pPr algn="r" rtl="0" fontAlgn="ctr"/>
                      <a:r>
                        <a:rPr lang="ru-RU" sz="900" b="0" i="0" u="none" strike="noStrike" dirty="0">
                          <a:solidFill>
                            <a:srgbClr val="000000"/>
                          </a:solidFill>
                          <a:effectLst/>
                          <a:latin typeface="+mj-lt"/>
                        </a:rPr>
                        <a:t>1 768</a:t>
                      </a:r>
                    </a:p>
                  </a:txBody>
                  <a:tcPr marL="9525" marR="9525" marT="9525" marB="0" anchor="ctr"/>
                </a:tc>
                <a:tc>
                  <a:txBody>
                    <a:bodyPr/>
                    <a:lstStyle/>
                    <a:p>
                      <a:pPr algn="r" rtl="0" fontAlgn="ctr"/>
                      <a:r>
                        <a:rPr lang="ru-RU" sz="900" b="0" i="0" u="none" strike="noStrike" dirty="0">
                          <a:solidFill>
                            <a:srgbClr val="000000"/>
                          </a:solidFill>
                          <a:effectLst/>
                          <a:latin typeface="+mj-lt"/>
                        </a:rPr>
                        <a:t>5,1%</a:t>
                      </a:r>
                    </a:p>
                  </a:txBody>
                  <a:tcPr marL="9525" marR="9525" marT="9525" marB="0" anchor="ctr"/>
                </a:tc>
                <a:extLst>
                  <a:ext uri="{0D108BD9-81ED-4DB2-BD59-A6C34878D82A}">
                    <a16:rowId xmlns:a16="http://schemas.microsoft.com/office/drawing/2014/main" val="3263529455"/>
                  </a:ext>
                </a:extLst>
              </a:tr>
              <a:tr h="174055">
                <a:tc>
                  <a:txBody>
                    <a:bodyPr/>
                    <a:lstStyle/>
                    <a:p>
                      <a:pPr algn="ctr">
                        <a:lnSpc>
                          <a:spcPct val="107000"/>
                        </a:lnSpc>
                        <a:spcAft>
                          <a:spcPts val="0"/>
                        </a:spcAft>
                      </a:pPr>
                      <a:r>
                        <a:rPr lang="ru-RU" sz="900" b="0" dirty="0">
                          <a:effectLst/>
                          <a:latin typeface="+mj-lt"/>
                        </a:rPr>
                        <a:t>12</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MTSS</a:t>
                      </a:r>
                    </a:p>
                  </a:txBody>
                  <a:tcPr marL="9525" marR="9525" marT="9525" marB="0" anchor="ctr"/>
                </a:tc>
                <a:tc>
                  <a:txBody>
                    <a:bodyPr/>
                    <a:lstStyle/>
                    <a:p>
                      <a:pPr algn="l" rtl="0" fontAlgn="ctr"/>
                      <a:r>
                        <a:rPr lang="ru-RU" sz="900" b="0" i="0" u="none" strike="noStrike">
                          <a:solidFill>
                            <a:srgbClr val="000000"/>
                          </a:solidFill>
                          <a:effectLst/>
                          <a:latin typeface="+mj-lt"/>
                        </a:rPr>
                        <a:t>ПАО "МТС", ао</a:t>
                      </a:r>
                    </a:p>
                  </a:txBody>
                  <a:tcPr marL="9525" marR="9525" marT="9525" marB="0" anchor="ctr"/>
                </a:tc>
                <a:tc>
                  <a:txBody>
                    <a:bodyPr/>
                    <a:lstStyle/>
                    <a:p>
                      <a:pPr algn="r" rtl="0" fontAlgn="ctr"/>
                      <a:r>
                        <a:rPr lang="ru-RU" sz="900" b="0" i="0" u="none" strike="noStrike">
                          <a:solidFill>
                            <a:srgbClr val="000000"/>
                          </a:solidFill>
                          <a:effectLst/>
                          <a:latin typeface="+mj-lt"/>
                        </a:rPr>
                        <a:t>523 476</a:t>
                      </a:r>
                    </a:p>
                  </a:txBody>
                  <a:tcPr marL="9525" marR="9525" marT="9525" marB="0" anchor="ctr"/>
                </a:tc>
                <a:tc>
                  <a:txBody>
                    <a:bodyPr/>
                    <a:lstStyle/>
                    <a:p>
                      <a:pPr algn="r" rtl="0" fontAlgn="ctr"/>
                      <a:r>
                        <a:rPr lang="ru-RU" sz="900" b="0" i="0" u="none" strike="noStrike">
                          <a:solidFill>
                            <a:srgbClr val="000000"/>
                          </a:solidFill>
                          <a:effectLst/>
                          <a:latin typeface="+mj-lt"/>
                        </a:rPr>
                        <a:t>48%</a:t>
                      </a:r>
                    </a:p>
                  </a:txBody>
                  <a:tcPr marL="9525" marR="9525" marT="9525" marB="0" anchor="ctr"/>
                </a:tc>
                <a:tc>
                  <a:txBody>
                    <a:bodyPr/>
                    <a:lstStyle/>
                    <a:p>
                      <a:pPr algn="r" rtl="0" fontAlgn="ctr"/>
                      <a:r>
                        <a:rPr lang="ru-RU" sz="900" b="0" i="0" u="none" strike="noStrike" dirty="0">
                          <a:solidFill>
                            <a:srgbClr val="000000"/>
                          </a:solidFill>
                          <a:effectLst/>
                          <a:latin typeface="+mj-lt"/>
                        </a:rPr>
                        <a:t>251 269</a:t>
                      </a:r>
                    </a:p>
                  </a:txBody>
                  <a:tcPr marL="9525" marR="9525" marT="9525" marB="0" anchor="ctr"/>
                </a:tc>
                <a:tc>
                  <a:txBody>
                    <a:bodyPr/>
                    <a:lstStyle/>
                    <a:p>
                      <a:pPr algn="r" rtl="0" fontAlgn="ctr"/>
                      <a:r>
                        <a:rPr lang="ru-RU" sz="900" b="0" i="0" u="none" strike="noStrike" dirty="0">
                          <a:solidFill>
                            <a:srgbClr val="000000"/>
                          </a:solidFill>
                          <a:effectLst/>
                          <a:latin typeface="+mj-lt"/>
                        </a:rPr>
                        <a:t>5,1%</a:t>
                      </a:r>
                    </a:p>
                  </a:txBody>
                  <a:tcPr marL="9525" marR="9525" marT="9525" marB="0" anchor="ctr"/>
                </a:tc>
                <a:extLst>
                  <a:ext uri="{0D108BD9-81ED-4DB2-BD59-A6C34878D82A}">
                    <a16:rowId xmlns:a16="http://schemas.microsoft.com/office/drawing/2014/main" val="384976666"/>
                  </a:ext>
                </a:extLst>
              </a:tr>
              <a:tr h="242280">
                <a:tc>
                  <a:txBody>
                    <a:bodyPr/>
                    <a:lstStyle/>
                    <a:p>
                      <a:pPr algn="ctr">
                        <a:lnSpc>
                          <a:spcPct val="107000"/>
                        </a:lnSpc>
                        <a:spcAft>
                          <a:spcPts val="0"/>
                        </a:spcAft>
                      </a:pPr>
                      <a:r>
                        <a:rPr lang="ru-RU" sz="900" b="0" dirty="0">
                          <a:effectLst/>
                          <a:latin typeface="+mj-lt"/>
                        </a:rPr>
                        <a:t>13</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ROSN</a:t>
                      </a:r>
                    </a:p>
                  </a:txBody>
                  <a:tcPr marL="9525" marR="9525" marT="9525" marB="0" anchor="ctr"/>
                </a:tc>
                <a:tc>
                  <a:txBody>
                    <a:bodyPr/>
                    <a:lstStyle/>
                    <a:p>
                      <a:pPr algn="l" rtl="0" fontAlgn="ctr"/>
                      <a:r>
                        <a:rPr lang="ru-RU" sz="900" b="0" i="0" u="none" strike="noStrike">
                          <a:solidFill>
                            <a:srgbClr val="000000"/>
                          </a:solidFill>
                          <a:effectLst/>
                          <a:latin typeface="+mj-lt"/>
                        </a:rPr>
                        <a:t>ПАО "НК "Роснефть", ао</a:t>
                      </a:r>
                    </a:p>
                  </a:txBody>
                  <a:tcPr marL="9525" marR="9525" marT="9525" marB="0" anchor="ctr"/>
                </a:tc>
                <a:tc>
                  <a:txBody>
                    <a:bodyPr/>
                    <a:lstStyle/>
                    <a:p>
                      <a:pPr algn="r" rtl="0" fontAlgn="ctr"/>
                      <a:r>
                        <a:rPr lang="ru-RU" sz="900" b="0" i="0" u="none" strike="noStrike">
                          <a:solidFill>
                            <a:srgbClr val="000000"/>
                          </a:solidFill>
                          <a:effectLst/>
                          <a:latin typeface="+mj-lt"/>
                        </a:rPr>
                        <a:t>4 617 626</a:t>
                      </a:r>
                    </a:p>
                  </a:txBody>
                  <a:tcPr marL="9525" marR="9525" marT="9525" marB="0" anchor="ctr"/>
                </a:tc>
                <a:tc>
                  <a:txBody>
                    <a:bodyPr/>
                    <a:lstStyle/>
                    <a:p>
                      <a:pPr algn="r" rtl="0" fontAlgn="ctr"/>
                      <a:r>
                        <a:rPr lang="ru-RU" sz="900" b="0" i="0" u="none" strike="noStrike">
                          <a:solidFill>
                            <a:srgbClr val="000000"/>
                          </a:solidFill>
                          <a:effectLst/>
                          <a:latin typeface="+mj-lt"/>
                        </a:rPr>
                        <a:t>11%</a:t>
                      </a:r>
                    </a:p>
                  </a:txBody>
                  <a:tcPr marL="9525" marR="9525" marT="9525" marB="0" anchor="ctr"/>
                </a:tc>
                <a:tc>
                  <a:txBody>
                    <a:bodyPr/>
                    <a:lstStyle/>
                    <a:p>
                      <a:pPr algn="r" rtl="0" fontAlgn="ctr"/>
                      <a:r>
                        <a:rPr lang="ru-RU" sz="900" b="0" i="0" u="none" strike="noStrike">
                          <a:solidFill>
                            <a:srgbClr val="000000"/>
                          </a:solidFill>
                          <a:effectLst/>
                          <a:latin typeface="+mj-lt"/>
                        </a:rPr>
                        <a:t>507 939</a:t>
                      </a:r>
                    </a:p>
                  </a:txBody>
                  <a:tcPr marL="9525" marR="9525" marT="9525" marB="0" anchor="ctr"/>
                </a:tc>
                <a:tc>
                  <a:txBody>
                    <a:bodyPr/>
                    <a:lstStyle/>
                    <a:p>
                      <a:pPr algn="r" rtl="0" fontAlgn="ctr"/>
                      <a:r>
                        <a:rPr lang="ru-RU" sz="900" b="0" i="0" u="none" strike="noStrike" dirty="0">
                          <a:solidFill>
                            <a:srgbClr val="000000"/>
                          </a:solidFill>
                          <a:effectLst/>
                          <a:latin typeface="+mj-lt"/>
                        </a:rPr>
                        <a:t>5,1%</a:t>
                      </a:r>
                    </a:p>
                  </a:txBody>
                  <a:tcPr marL="9525" marR="9525" marT="9525" marB="0" anchor="ctr"/>
                </a:tc>
                <a:extLst>
                  <a:ext uri="{0D108BD9-81ED-4DB2-BD59-A6C34878D82A}">
                    <a16:rowId xmlns:a16="http://schemas.microsoft.com/office/drawing/2014/main" val="2678980716"/>
                  </a:ext>
                </a:extLst>
              </a:tr>
              <a:tr h="174055">
                <a:tc>
                  <a:txBody>
                    <a:bodyPr/>
                    <a:lstStyle/>
                    <a:p>
                      <a:pPr algn="ctr">
                        <a:lnSpc>
                          <a:spcPct val="107000"/>
                        </a:lnSpc>
                        <a:spcAft>
                          <a:spcPts val="0"/>
                        </a:spcAft>
                      </a:pPr>
                      <a:r>
                        <a:rPr lang="ru-RU" sz="900" b="0" dirty="0">
                          <a:effectLst/>
                          <a:latin typeface="+mj-lt"/>
                        </a:rPr>
                        <a:t>14</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URKA</a:t>
                      </a:r>
                    </a:p>
                  </a:txBody>
                  <a:tcPr marL="9525" marR="9525" marT="9525" marB="0" anchor="ctr"/>
                </a:tc>
                <a:tc>
                  <a:txBody>
                    <a:bodyPr/>
                    <a:lstStyle/>
                    <a:p>
                      <a:pPr algn="l" rtl="0" fontAlgn="ctr"/>
                      <a:r>
                        <a:rPr lang="ru-RU" sz="900" b="0" i="0" u="none" strike="noStrike">
                          <a:solidFill>
                            <a:srgbClr val="000000"/>
                          </a:solidFill>
                          <a:effectLst/>
                          <a:latin typeface="+mj-lt"/>
                        </a:rPr>
                        <a:t>ПАО "Уралкалий", ао</a:t>
                      </a:r>
                    </a:p>
                  </a:txBody>
                  <a:tcPr marL="9525" marR="9525" marT="9525" marB="0" anchor="ctr"/>
                </a:tc>
                <a:tc>
                  <a:txBody>
                    <a:bodyPr/>
                    <a:lstStyle/>
                    <a:p>
                      <a:pPr algn="r" rtl="0" fontAlgn="ctr"/>
                      <a:r>
                        <a:rPr lang="ru-RU" sz="900" b="0" i="0" u="none" strike="noStrike">
                          <a:solidFill>
                            <a:srgbClr val="000000"/>
                          </a:solidFill>
                          <a:effectLst/>
                          <a:latin typeface="+mj-lt"/>
                        </a:rPr>
                        <a:t>237 377</a:t>
                      </a:r>
                    </a:p>
                  </a:txBody>
                  <a:tcPr marL="9525" marR="9525" marT="9525" marB="0" anchor="ctr"/>
                </a:tc>
                <a:tc>
                  <a:txBody>
                    <a:bodyPr/>
                    <a:lstStyle/>
                    <a:p>
                      <a:pPr algn="r" rtl="0" fontAlgn="ctr"/>
                      <a:r>
                        <a:rPr lang="ru-RU" sz="900" b="0" i="0" u="none" strike="noStrike">
                          <a:solidFill>
                            <a:srgbClr val="000000"/>
                          </a:solidFill>
                          <a:effectLst/>
                          <a:latin typeface="+mj-lt"/>
                        </a:rPr>
                        <a:t>3%</a:t>
                      </a:r>
                    </a:p>
                  </a:txBody>
                  <a:tcPr marL="9525" marR="9525" marT="9525" marB="0" anchor="ctr"/>
                </a:tc>
                <a:tc>
                  <a:txBody>
                    <a:bodyPr/>
                    <a:lstStyle/>
                    <a:p>
                      <a:pPr algn="r" rtl="0" fontAlgn="ctr"/>
                      <a:r>
                        <a:rPr lang="ru-RU" sz="900" b="0" i="0" u="none" strike="noStrike">
                          <a:solidFill>
                            <a:srgbClr val="000000"/>
                          </a:solidFill>
                          <a:effectLst/>
                          <a:latin typeface="+mj-lt"/>
                        </a:rPr>
                        <a:t>7 121</a:t>
                      </a:r>
                    </a:p>
                  </a:txBody>
                  <a:tcPr marL="9525" marR="9525" marT="9525" marB="0" anchor="ctr"/>
                </a:tc>
                <a:tc>
                  <a:txBody>
                    <a:bodyPr/>
                    <a:lstStyle/>
                    <a:p>
                      <a:pPr algn="r" rtl="0" fontAlgn="ctr"/>
                      <a:r>
                        <a:rPr lang="ru-RU" sz="900" b="0" i="0" u="none" strike="noStrike" dirty="0">
                          <a:solidFill>
                            <a:srgbClr val="000000"/>
                          </a:solidFill>
                          <a:effectLst/>
                          <a:latin typeface="+mj-lt"/>
                        </a:rPr>
                        <a:t>5,1%</a:t>
                      </a:r>
                    </a:p>
                  </a:txBody>
                  <a:tcPr marL="9525" marR="9525" marT="9525" marB="0" anchor="ctr"/>
                </a:tc>
                <a:extLst>
                  <a:ext uri="{0D108BD9-81ED-4DB2-BD59-A6C34878D82A}">
                    <a16:rowId xmlns:a16="http://schemas.microsoft.com/office/drawing/2014/main" val="3786294312"/>
                  </a:ext>
                </a:extLst>
              </a:tr>
              <a:tr h="174055">
                <a:tc>
                  <a:txBody>
                    <a:bodyPr/>
                    <a:lstStyle/>
                    <a:p>
                      <a:pPr algn="ctr">
                        <a:lnSpc>
                          <a:spcPct val="107000"/>
                        </a:lnSpc>
                        <a:spcAft>
                          <a:spcPts val="0"/>
                        </a:spcAft>
                      </a:pPr>
                      <a:r>
                        <a:rPr lang="ru-RU" sz="900" b="0" dirty="0">
                          <a:effectLst/>
                          <a:latin typeface="+mj-lt"/>
                        </a:rPr>
                        <a:t>15</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a:solidFill>
                            <a:srgbClr val="000000"/>
                          </a:solidFill>
                          <a:effectLst/>
                          <a:latin typeface="+mj-lt"/>
                        </a:rPr>
                        <a:t>CHMF</a:t>
                      </a:r>
                    </a:p>
                  </a:txBody>
                  <a:tcPr marL="9525" marR="9525" marT="9525" marB="0" anchor="ctr"/>
                </a:tc>
                <a:tc>
                  <a:txBody>
                    <a:bodyPr/>
                    <a:lstStyle/>
                    <a:p>
                      <a:pPr algn="l" rtl="0" fontAlgn="ctr"/>
                      <a:r>
                        <a:rPr lang="ru-RU" sz="900" b="0" i="0" u="none" strike="noStrike">
                          <a:solidFill>
                            <a:srgbClr val="000000"/>
                          </a:solidFill>
                          <a:effectLst/>
                          <a:latin typeface="+mj-lt"/>
                        </a:rPr>
                        <a:t>ПАО "Северсталь", ао</a:t>
                      </a:r>
                    </a:p>
                  </a:txBody>
                  <a:tcPr marL="9525" marR="9525" marT="9525" marB="0" anchor="ctr"/>
                </a:tc>
                <a:tc>
                  <a:txBody>
                    <a:bodyPr/>
                    <a:lstStyle/>
                    <a:p>
                      <a:pPr algn="r" rtl="0" fontAlgn="ctr"/>
                      <a:r>
                        <a:rPr lang="ru-RU" sz="900" b="0" i="0" u="none" strike="noStrike">
                          <a:solidFill>
                            <a:srgbClr val="000000"/>
                          </a:solidFill>
                          <a:effectLst/>
                          <a:latin typeface="+mj-lt"/>
                        </a:rPr>
                        <a:t>909 846</a:t>
                      </a:r>
                    </a:p>
                  </a:txBody>
                  <a:tcPr marL="9525" marR="9525" marT="9525" marB="0" anchor="ctr"/>
                </a:tc>
                <a:tc>
                  <a:txBody>
                    <a:bodyPr/>
                    <a:lstStyle/>
                    <a:p>
                      <a:pPr algn="r" rtl="0" fontAlgn="ctr"/>
                      <a:r>
                        <a:rPr lang="ru-RU" sz="900" b="0" i="0" u="none" strike="noStrike">
                          <a:solidFill>
                            <a:srgbClr val="000000"/>
                          </a:solidFill>
                          <a:effectLst/>
                          <a:latin typeface="+mj-lt"/>
                        </a:rPr>
                        <a:t>20%</a:t>
                      </a:r>
                    </a:p>
                  </a:txBody>
                  <a:tcPr marL="9525" marR="9525" marT="9525" marB="0" anchor="ctr"/>
                </a:tc>
                <a:tc>
                  <a:txBody>
                    <a:bodyPr/>
                    <a:lstStyle/>
                    <a:p>
                      <a:pPr algn="r" rtl="0" fontAlgn="ctr"/>
                      <a:r>
                        <a:rPr lang="ru-RU" sz="900" b="0" i="0" u="none" strike="noStrike">
                          <a:solidFill>
                            <a:srgbClr val="000000"/>
                          </a:solidFill>
                          <a:effectLst/>
                          <a:latin typeface="+mj-lt"/>
                        </a:rPr>
                        <a:t>181 969</a:t>
                      </a:r>
                    </a:p>
                  </a:txBody>
                  <a:tcPr marL="9525" marR="9525" marT="9525" marB="0" anchor="ctr"/>
                </a:tc>
                <a:tc>
                  <a:txBody>
                    <a:bodyPr/>
                    <a:lstStyle/>
                    <a:p>
                      <a:pPr algn="r" rtl="0" fontAlgn="ctr"/>
                      <a:r>
                        <a:rPr lang="ru-RU" sz="900" b="0" i="0" u="none" strike="noStrike" dirty="0">
                          <a:solidFill>
                            <a:srgbClr val="000000"/>
                          </a:solidFill>
                          <a:effectLst/>
                          <a:latin typeface="+mj-lt"/>
                        </a:rPr>
                        <a:t>4,8%</a:t>
                      </a:r>
                    </a:p>
                  </a:txBody>
                  <a:tcPr marL="9525" marR="9525" marT="9525" marB="0" anchor="ctr"/>
                </a:tc>
                <a:extLst>
                  <a:ext uri="{0D108BD9-81ED-4DB2-BD59-A6C34878D82A}">
                    <a16:rowId xmlns:a16="http://schemas.microsoft.com/office/drawing/2014/main" val="141193880"/>
                  </a:ext>
                </a:extLst>
              </a:tr>
              <a:tr h="174055">
                <a:tc>
                  <a:txBody>
                    <a:bodyPr/>
                    <a:lstStyle/>
                    <a:p>
                      <a:pPr algn="ctr">
                        <a:lnSpc>
                          <a:spcPct val="107000"/>
                        </a:lnSpc>
                        <a:spcAft>
                          <a:spcPts val="0"/>
                        </a:spcAft>
                      </a:pPr>
                      <a:r>
                        <a:rPr lang="ru-RU" sz="900" b="0" dirty="0">
                          <a:effectLst/>
                          <a:latin typeface="+mj-lt"/>
                        </a:rPr>
                        <a:t>16</a:t>
                      </a:r>
                      <a:endParaRPr lang="ru-RU" sz="900" b="0" dirty="0">
                        <a:effectLst/>
                        <a:latin typeface="+mj-lt"/>
                        <a:ea typeface="Calibri" panose="020F0502020204030204" pitchFamily="34" charset="0"/>
                        <a:cs typeface="Times New Roman" panose="02020603050405020304" pitchFamily="18" charset="0"/>
                      </a:endParaRPr>
                    </a:p>
                  </a:txBody>
                  <a:tcPr marL="68580" marR="68580" marT="0" marB="0" anchor="ctr"/>
                </a:tc>
                <a:tc>
                  <a:txBody>
                    <a:bodyPr/>
                    <a:lstStyle/>
                    <a:p>
                      <a:pPr algn="l" rtl="0" fontAlgn="ctr"/>
                      <a:r>
                        <a:rPr lang="en-US" sz="900" b="0" i="0" u="none" strike="noStrike" dirty="0">
                          <a:solidFill>
                            <a:srgbClr val="000000"/>
                          </a:solidFill>
                          <a:effectLst/>
                          <a:latin typeface="+mj-lt"/>
                        </a:rPr>
                        <a:t>TRNFP</a:t>
                      </a:r>
                    </a:p>
                  </a:txBody>
                  <a:tcPr marL="9525" marR="9525" marT="9525" marB="0" anchor="ctr"/>
                </a:tc>
                <a:tc>
                  <a:txBody>
                    <a:bodyPr/>
                    <a:lstStyle/>
                    <a:p>
                      <a:pPr algn="l" rtl="0" fontAlgn="ctr"/>
                      <a:r>
                        <a:rPr lang="ru-RU" sz="900" b="0" i="0" u="none" strike="noStrike">
                          <a:solidFill>
                            <a:srgbClr val="000000"/>
                          </a:solidFill>
                          <a:effectLst/>
                          <a:latin typeface="+mj-lt"/>
                        </a:rPr>
                        <a:t>ПАО "Транснефть", ап</a:t>
                      </a:r>
                    </a:p>
                  </a:txBody>
                  <a:tcPr marL="9525" marR="9525" marT="9525" marB="0" anchor="ctr"/>
                </a:tc>
                <a:tc>
                  <a:txBody>
                    <a:bodyPr/>
                    <a:lstStyle/>
                    <a:p>
                      <a:pPr algn="r" rtl="0" fontAlgn="ctr"/>
                      <a:r>
                        <a:rPr lang="ru-RU" sz="900" b="0" i="0" u="none" strike="noStrike">
                          <a:solidFill>
                            <a:srgbClr val="000000"/>
                          </a:solidFill>
                          <a:effectLst/>
                          <a:latin typeface="+mj-lt"/>
                        </a:rPr>
                        <a:t>221 570</a:t>
                      </a:r>
                    </a:p>
                  </a:txBody>
                  <a:tcPr marL="9525" marR="9525" marT="9525" marB="0" anchor="ctr"/>
                </a:tc>
                <a:tc>
                  <a:txBody>
                    <a:bodyPr/>
                    <a:lstStyle/>
                    <a:p>
                      <a:pPr algn="r" rtl="0" fontAlgn="ctr"/>
                      <a:r>
                        <a:rPr lang="ru-RU" sz="900" b="0" i="0" u="none" strike="noStrike">
                          <a:solidFill>
                            <a:srgbClr val="000000"/>
                          </a:solidFill>
                          <a:effectLst/>
                          <a:latin typeface="+mj-lt"/>
                        </a:rPr>
                        <a:t>32%</a:t>
                      </a:r>
                    </a:p>
                  </a:txBody>
                  <a:tcPr marL="9525" marR="9525" marT="9525" marB="0" anchor="ctr"/>
                </a:tc>
                <a:tc>
                  <a:txBody>
                    <a:bodyPr/>
                    <a:lstStyle/>
                    <a:p>
                      <a:pPr algn="r" rtl="0" fontAlgn="ctr"/>
                      <a:r>
                        <a:rPr lang="ru-RU" sz="900" b="0" i="0" u="none" strike="noStrike">
                          <a:solidFill>
                            <a:srgbClr val="000000"/>
                          </a:solidFill>
                          <a:effectLst/>
                          <a:latin typeface="+mj-lt"/>
                        </a:rPr>
                        <a:t>70 902</a:t>
                      </a:r>
                    </a:p>
                  </a:txBody>
                  <a:tcPr marL="9525" marR="9525" marT="9525" marB="0" anchor="ctr"/>
                </a:tc>
                <a:tc>
                  <a:txBody>
                    <a:bodyPr/>
                    <a:lstStyle/>
                    <a:p>
                      <a:pPr algn="r" rtl="0" fontAlgn="ctr"/>
                      <a:r>
                        <a:rPr lang="ru-RU" sz="900" b="0" i="0" u="none" strike="noStrike" dirty="0">
                          <a:solidFill>
                            <a:srgbClr val="000000"/>
                          </a:solidFill>
                          <a:effectLst/>
                          <a:latin typeface="+mj-lt"/>
                        </a:rPr>
                        <a:t>4,8%</a:t>
                      </a:r>
                    </a:p>
                  </a:txBody>
                  <a:tcPr marL="9525" marR="9525" marT="9525" marB="0" anchor="ctr"/>
                </a:tc>
                <a:extLst>
                  <a:ext uri="{0D108BD9-81ED-4DB2-BD59-A6C34878D82A}">
                    <a16:rowId xmlns:a16="http://schemas.microsoft.com/office/drawing/2014/main" val="1343921604"/>
                  </a:ext>
                </a:extLst>
              </a:tr>
            </a:tbl>
          </a:graphicData>
        </a:graphic>
      </p:graphicFrame>
      <p:sp>
        <p:nvSpPr>
          <p:cNvPr id="6" name="TextBox 5"/>
          <p:cNvSpPr txBox="1"/>
          <p:nvPr/>
        </p:nvSpPr>
        <p:spPr>
          <a:xfrm>
            <a:off x="1195205" y="589523"/>
            <a:ext cx="8173082" cy="1898981"/>
          </a:xfrm>
          <a:prstGeom prst="rect">
            <a:avLst/>
          </a:prstGeom>
          <a:noFill/>
        </p:spPr>
        <p:txBody>
          <a:bodyPr wrap="square" rtlCol="0">
            <a:spAutoFit/>
          </a:bodyPr>
          <a:lstStyle/>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latin typeface="Tahoma" panose="020B0604030504040204" pitchFamily="34" charset="0"/>
                <a:ea typeface="Calibri" panose="020F0502020204030204" pitchFamily="34" charset="0"/>
              </a:rPr>
              <a:t>Отражает динамику компании в области устойчивого развития по сравнению с предыдущим годом;</a:t>
            </a:r>
          </a:p>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latin typeface="Tahoma" panose="020B0604030504040204" pitchFamily="34" charset="0"/>
                <a:ea typeface="Calibri" panose="020F0502020204030204" pitchFamily="34" charset="0"/>
              </a:rPr>
              <a:t>В состав индекса в </a:t>
            </a:r>
            <a:r>
              <a:rPr lang="ru-RU" sz="1200" dirty="0" smtClean="0">
                <a:latin typeface="Tahoma" panose="020B0604030504040204" pitchFamily="34" charset="0"/>
                <a:ea typeface="Calibri" panose="020F0502020204030204" pitchFamily="34" charset="0"/>
              </a:rPr>
              <a:t>2017г</a:t>
            </a:r>
            <a:r>
              <a:rPr lang="ru-RU" sz="1200" dirty="0" smtClean="0">
                <a:latin typeface="Tahoma" panose="020B0604030504040204" pitchFamily="34" charset="0"/>
                <a:ea typeface="Calibri" panose="020F0502020204030204" pitchFamily="34" charset="0"/>
              </a:rPr>
              <a:t>. вошли акции 16 компаний:</a:t>
            </a:r>
          </a:p>
          <a:p>
            <a:pPr marL="742950" lvl="2" indent="-285750">
              <a:lnSpc>
                <a:spcPct val="110000"/>
              </a:lnSpc>
              <a:spcAft>
                <a:spcPts val="554"/>
              </a:spcAft>
              <a:buClr>
                <a:srgbClr val="000000"/>
              </a:buClr>
              <a:buSzPct val="150000"/>
              <a:buFont typeface="Wingdings" panose="05000000000000000000" pitchFamily="2" charset="2"/>
              <a:buChar char="ü"/>
            </a:pPr>
            <a:r>
              <a:rPr lang="ru-RU" sz="1200" dirty="0" smtClean="0">
                <a:latin typeface="Tahoma" panose="020B0604030504040204" pitchFamily="34" charset="0"/>
                <a:ea typeface="Calibri" panose="020F0502020204030204" pitchFamily="34" charset="0"/>
              </a:rPr>
              <a:t> обращающиеся на Бирже,</a:t>
            </a:r>
          </a:p>
          <a:p>
            <a:pPr marL="742950" lvl="2" indent="-285750">
              <a:lnSpc>
                <a:spcPct val="110000"/>
              </a:lnSpc>
              <a:spcAft>
                <a:spcPts val="554"/>
              </a:spcAft>
              <a:buClr>
                <a:srgbClr val="000000"/>
              </a:buClr>
              <a:buSzPct val="150000"/>
              <a:buFont typeface="Wingdings" panose="05000000000000000000" pitchFamily="2" charset="2"/>
              <a:buChar char="ü"/>
            </a:pPr>
            <a:r>
              <a:rPr lang="ru-RU" sz="1200" dirty="0" smtClean="0">
                <a:latin typeface="Tahoma" panose="020B0604030504040204" pitchFamily="34" charset="0"/>
                <a:ea typeface="Calibri" panose="020F0502020204030204" pitchFamily="34" charset="0"/>
              </a:rPr>
              <a:t>показавшие лучшую динамику показателей устойчивого развития </a:t>
            </a:r>
            <a:br>
              <a:rPr lang="ru-RU" sz="1200" dirty="0" smtClean="0">
                <a:latin typeface="Tahoma" panose="020B0604030504040204" pitchFamily="34" charset="0"/>
                <a:ea typeface="Calibri" panose="020F0502020204030204" pitchFamily="34" charset="0"/>
              </a:rPr>
            </a:br>
            <a:r>
              <a:rPr lang="ru-RU" sz="1200" dirty="0" smtClean="0">
                <a:latin typeface="Tahoma" panose="020B0604030504040204" pitchFamily="34" charset="0"/>
                <a:ea typeface="Calibri" panose="020F0502020204030204" pitchFamily="34" charset="0"/>
              </a:rPr>
              <a:t>(</a:t>
            </a:r>
            <a:r>
              <a:rPr lang="ru-RU" sz="1200" dirty="0">
                <a:latin typeface="Tahoma" panose="020B0604030504040204" pitchFamily="34" charset="0"/>
                <a:ea typeface="Calibri" panose="020F0502020204030204" pitchFamily="34" charset="0"/>
              </a:rPr>
              <a:t>отбор эмитентов экспертами РСПП – ежегодно</a:t>
            </a:r>
            <a:r>
              <a:rPr lang="ru-RU" sz="1200" dirty="0" smtClean="0">
                <a:latin typeface="Tahoma" panose="020B0604030504040204" pitchFamily="34" charset="0"/>
                <a:ea typeface="Calibri" panose="020F0502020204030204" pitchFamily="34" charset="0"/>
              </a:rPr>
              <a:t>);</a:t>
            </a:r>
          </a:p>
          <a:p>
            <a:pPr marL="266700" lvl="1" indent="-266700">
              <a:lnSpc>
                <a:spcPct val="110000"/>
              </a:lnSpc>
              <a:spcAft>
                <a:spcPts val="554"/>
              </a:spcAft>
              <a:buClr>
                <a:srgbClr val="000000"/>
              </a:buClr>
              <a:buSzPct val="150000"/>
              <a:buFont typeface="Arial" panose="020B0604020202020204" pitchFamily="34" charset="0"/>
              <a:buChar char="•"/>
            </a:pPr>
            <a:r>
              <a:rPr lang="ru-RU" sz="1200" dirty="0" smtClean="0">
                <a:latin typeface="Tahoma" panose="020B0604030504040204" pitchFamily="34" charset="0"/>
                <a:ea typeface="Calibri" panose="020F0502020204030204" pitchFamily="34" charset="0"/>
              </a:rPr>
              <a:t>Веса акций </a:t>
            </a:r>
            <a:r>
              <a:rPr lang="ru-RU" sz="1200" dirty="0" smtClean="0">
                <a:latin typeface="Tahoma" panose="020B0604030504040204" pitchFamily="34" charset="0"/>
                <a:ea typeface="Calibri" panose="020F0502020204030204" pitchFamily="34" charset="0"/>
              </a:rPr>
              <a:t>пропорциональны </a:t>
            </a:r>
            <a:r>
              <a:rPr lang="ru-RU" sz="1200" dirty="0" err="1" smtClean="0">
                <a:latin typeface="Tahoma" panose="020B0604030504040204" pitchFamily="34" charset="0"/>
                <a:ea typeface="Calibri" panose="020F0502020204030204" pitchFamily="34" charset="0"/>
              </a:rPr>
              <a:t>рэнкингу</a:t>
            </a:r>
            <a:r>
              <a:rPr lang="ru-RU" sz="1200" dirty="0" smtClean="0">
                <a:latin typeface="Tahoma" panose="020B0604030504040204" pitchFamily="34" charset="0"/>
                <a:ea typeface="Calibri" panose="020F0502020204030204" pitchFamily="34" charset="0"/>
              </a:rPr>
              <a:t> РСПП, </a:t>
            </a:r>
            <a:r>
              <a:rPr lang="ru-RU" sz="1200" dirty="0" err="1" smtClean="0">
                <a:latin typeface="Tahoma" panose="020B0604030504040204" pitchFamily="34" charset="0"/>
                <a:ea typeface="Calibri" panose="020F0502020204030204" pitchFamily="34" charset="0"/>
              </a:rPr>
              <a:t>ребалансировка</a:t>
            </a:r>
            <a:r>
              <a:rPr lang="ru-RU" sz="1200" dirty="0" smtClean="0">
                <a:latin typeface="Tahoma" panose="020B0604030504040204" pitchFamily="34" charset="0"/>
                <a:ea typeface="Calibri" panose="020F0502020204030204" pitchFamily="34" charset="0"/>
              </a:rPr>
              <a:t> весов – ежеквартально;</a:t>
            </a:r>
            <a:endParaRPr lang="ru-RU" sz="1200" dirty="0" smtClean="0">
              <a:latin typeface="Tahoma" panose="020B0604030504040204" pitchFamily="34" charset="0"/>
              <a:ea typeface="Calibri" panose="020F0502020204030204" pitchFamily="34" charset="0"/>
            </a:endParaRPr>
          </a:p>
          <a:p>
            <a:pPr marL="266700" lvl="1" indent="-266700">
              <a:lnSpc>
                <a:spcPct val="110000"/>
              </a:lnSpc>
              <a:spcAft>
                <a:spcPts val="554"/>
              </a:spcAft>
              <a:buClr>
                <a:srgbClr val="000000"/>
              </a:buClr>
              <a:buSzPct val="150000"/>
              <a:buFont typeface="Arial" panose="020B0604020202020204" pitchFamily="34" charset="0"/>
              <a:buChar char="•"/>
            </a:pPr>
            <a:r>
              <a:rPr lang="ru-RU" sz="1200" dirty="0">
                <a:solidFill>
                  <a:srgbClr val="000000"/>
                </a:solidFill>
                <a:latin typeface="Tahoma" panose="020B0604030504040204" pitchFamily="34" charset="0"/>
              </a:rPr>
              <a:t>Расчет – 1 раз в год (на основе ежедневных цен закрытия акций эмитентов на </a:t>
            </a:r>
            <a:r>
              <a:rPr lang="ru-RU" sz="1200" dirty="0" err="1">
                <a:solidFill>
                  <a:srgbClr val="000000"/>
                </a:solidFill>
                <a:latin typeface="Tahoma" panose="020B0604030504040204" pitchFamily="34" charset="0"/>
              </a:rPr>
              <a:t>МосБирже</a:t>
            </a:r>
            <a:r>
              <a:rPr lang="ru-RU" sz="1200" dirty="0">
                <a:solidFill>
                  <a:srgbClr val="000000"/>
                </a:solidFill>
                <a:latin typeface="Tahoma" panose="020B0604030504040204" pitchFamily="34" charset="0"/>
              </a:rPr>
              <a:t>)</a:t>
            </a:r>
            <a:r>
              <a:rPr lang="en-US" sz="1200" dirty="0" smtClean="0">
                <a:solidFill>
                  <a:srgbClr val="000000"/>
                </a:solidFill>
                <a:latin typeface="Tahoma" panose="020B0604030504040204" pitchFamily="34" charset="0"/>
              </a:rPr>
              <a:t>.</a:t>
            </a:r>
            <a:endParaRPr lang="ru-RU" sz="1200" dirty="0">
              <a:solidFill>
                <a:srgbClr val="000000"/>
              </a:solidFill>
            </a:endParaRPr>
          </a:p>
        </p:txBody>
      </p:sp>
      <p:sp>
        <p:nvSpPr>
          <p:cNvPr id="7" name="Заголовок 1"/>
          <p:cNvSpPr>
            <a:spLocks noGrp="1"/>
          </p:cNvSpPr>
          <p:nvPr>
            <p:ph type="title"/>
          </p:nvPr>
        </p:nvSpPr>
        <p:spPr>
          <a:xfrm>
            <a:off x="1110537" y="173325"/>
            <a:ext cx="8043685" cy="359985"/>
          </a:xfrm>
        </p:spPr>
        <p:txBody>
          <a:bodyPr/>
          <a:lstStyle/>
          <a:p>
            <a:r>
              <a:rPr lang="ru-RU" cap="all" dirty="0"/>
              <a:t>ФОНДОВЫЙ ИНДЕКС «Вектор устойчивого развития»</a:t>
            </a:r>
            <a:endParaRPr lang="ru-RU" dirty="0"/>
          </a:p>
        </p:txBody>
      </p:sp>
    </p:spTree>
    <p:extLst>
      <p:ext uri="{BB962C8B-B14F-4D97-AF65-F5344CB8AC3E}">
        <p14:creationId xmlns:p14="http://schemas.microsoft.com/office/powerpoint/2010/main" val="3965905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a:graphicFrameLocks/>
          </p:cNvGraphicFramePr>
          <p:nvPr>
            <p:extLst>
              <p:ext uri="{D42A27DB-BD31-4B8C-83A1-F6EECF244321}">
                <p14:modId xmlns:p14="http://schemas.microsoft.com/office/powerpoint/2010/main" val="1018044367"/>
              </p:ext>
            </p:extLst>
          </p:nvPr>
        </p:nvGraphicFramePr>
        <p:xfrm>
          <a:off x="1739369" y="4543901"/>
          <a:ext cx="8070837" cy="2219247"/>
        </p:xfrm>
        <a:graphic>
          <a:graphicData uri="http://schemas.openxmlformats.org/drawingml/2006/chart">
            <c:chart xmlns:c="http://schemas.openxmlformats.org/drawingml/2006/chart" xmlns:r="http://schemas.openxmlformats.org/officeDocument/2006/relationships" r:id="rId2"/>
          </a:graphicData>
        </a:graphic>
      </p:graphicFrame>
      <p:sp>
        <p:nvSpPr>
          <p:cNvPr id="6" name="Заголовок 1"/>
          <p:cNvSpPr>
            <a:spLocks noGrp="1"/>
          </p:cNvSpPr>
          <p:nvPr>
            <p:ph type="title"/>
          </p:nvPr>
        </p:nvSpPr>
        <p:spPr>
          <a:xfrm>
            <a:off x="1200757" y="277003"/>
            <a:ext cx="8233643" cy="404728"/>
          </a:xfrm>
        </p:spPr>
        <p:txBody>
          <a:bodyPr/>
          <a:lstStyle/>
          <a:p>
            <a:pPr algn="just">
              <a:spcBef>
                <a:spcPts val="225"/>
              </a:spcBef>
              <a:spcAft>
                <a:spcPts val="554"/>
              </a:spcAft>
              <a:buClr>
                <a:srgbClr val="C8102E"/>
              </a:buClr>
              <a:buSzPct val="150000"/>
            </a:pPr>
            <a:r>
              <a:rPr lang="ru-RU" sz="1800" dirty="0" smtClean="0">
                <a:solidFill>
                  <a:srgbClr val="000000"/>
                </a:solidFill>
              </a:rPr>
              <a:t>ДИНАМИКА ФОНДОВЫХ ИНДЕКСОВ УСТОЙЧИВОГО РАЗВИТИЯ </a:t>
            </a:r>
            <a:endParaRPr lang="ru-RU" sz="1800" dirty="0">
              <a:solidFill>
                <a:srgbClr val="000000"/>
              </a:solidFill>
            </a:endParaRPr>
          </a:p>
        </p:txBody>
      </p:sp>
      <p:sp>
        <p:nvSpPr>
          <p:cNvPr id="7" name="Текст 2"/>
          <p:cNvSpPr>
            <a:spLocks noGrp="1"/>
          </p:cNvSpPr>
          <p:nvPr>
            <p:ph type="body" sz="half" idx="2"/>
          </p:nvPr>
        </p:nvSpPr>
        <p:spPr>
          <a:xfrm>
            <a:off x="1252537" y="1062005"/>
            <a:ext cx="3210473" cy="2630648"/>
          </a:xfrm>
        </p:spPr>
        <p:txBody>
          <a:bodyPr anchor="ctr">
            <a:noAutofit/>
          </a:bodyPr>
          <a:lstStyle/>
          <a:p>
            <a:pPr marL="285750" indent="-216000" algn="just">
              <a:lnSpc>
                <a:spcPct val="120000"/>
              </a:lnSpc>
              <a:spcAft>
                <a:spcPts val="600"/>
              </a:spcAft>
              <a:buClr>
                <a:schemeClr val="bg1">
                  <a:lumMod val="50000"/>
                </a:schemeClr>
              </a:buClr>
              <a:buFont typeface="Wingdings" pitchFamily="2" charset="2"/>
              <a:buChar char="§"/>
            </a:pPr>
            <a:r>
              <a:rPr lang="ru-RU" sz="1200" dirty="0" smtClean="0"/>
              <a:t>Динамика </a:t>
            </a:r>
            <a:r>
              <a:rPr lang="ru-RU" sz="1200" dirty="0"/>
              <a:t>фондовых индексов «Ответственность и открытость» и «Вектор устойчивого развития» в значительной степени коррелирует с Индексом </a:t>
            </a:r>
            <a:r>
              <a:rPr lang="ru-RU" sz="1200" dirty="0" err="1" smtClean="0"/>
              <a:t>МосБиржи</a:t>
            </a:r>
            <a:r>
              <a:rPr lang="ru-RU" sz="1200" dirty="0"/>
              <a:t>;</a:t>
            </a:r>
            <a:endParaRPr lang="ru-RU" sz="1200" dirty="0" smtClean="0"/>
          </a:p>
          <a:p>
            <a:pPr marL="285750" indent="-216000" algn="just">
              <a:lnSpc>
                <a:spcPct val="120000"/>
              </a:lnSpc>
              <a:spcAft>
                <a:spcPts val="600"/>
              </a:spcAft>
              <a:buClr>
                <a:schemeClr val="bg1">
                  <a:lumMod val="50000"/>
                </a:schemeClr>
              </a:buClr>
              <a:buFont typeface="Wingdings" pitchFamily="2" charset="2"/>
              <a:buChar char="§"/>
            </a:pPr>
            <a:r>
              <a:rPr lang="ru-RU" sz="1200" dirty="0" smtClean="0"/>
              <a:t>За ретроспективный период </a:t>
            </a:r>
            <a:r>
              <a:rPr lang="ru-RU" sz="1200" dirty="0"/>
              <a:t>индексы устойчивого развития продемонстрировали более высокую </a:t>
            </a:r>
            <a:r>
              <a:rPr lang="ru-RU" sz="1200" dirty="0" smtClean="0"/>
              <a:t>доходность по сравнению с </a:t>
            </a:r>
            <a:r>
              <a:rPr lang="ru-RU" sz="1200" dirty="0" err="1" smtClean="0"/>
              <a:t>бенчмарком</a:t>
            </a:r>
            <a:r>
              <a:rPr lang="ru-RU" sz="1200" dirty="0" smtClean="0"/>
              <a:t>.</a:t>
            </a:r>
          </a:p>
        </p:txBody>
      </p:sp>
      <p:sp>
        <p:nvSpPr>
          <p:cNvPr id="8" name="TextBox 7"/>
          <p:cNvSpPr txBox="1"/>
          <p:nvPr/>
        </p:nvSpPr>
        <p:spPr>
          <a:xfrm>
            <a:off x="1328469" y="4266902"/>
            <a:ext cx="8307430" cy="276999"/>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r>
              <a:rPr lang="ru-RU" sz="1200" dirty="0"/>
              <a:t>Отраслевая диверсификация </a:t>
            </a:r>
            <a:r>
              <a:rPr lang="ru-RU" sz="1200" dirty="0" smtClean="0"/>
              <a:t>индексов**</a:t>
            </a:r>
            <a:endParaRPr lang="ru-RU" sz="1200" dirty="0"/>
          </a:p>
        </p:txBody>
      </p:sp>
      <p:sp>
        <p:nvSpPr>
          <p:cNvPr id="9" name="TextBox 8"/>
          <p:cNvSpPr txBox="1"/>
          <p:nvPr/>
        </p:nvSpPr>
        <p:spPr>
          <a:xfrm>
            <a:off x="8045873" y="4525054"/>
            <a:ext cx="1633781" cy="215444"/>
          </a:xfrm>
          <a:prstGeom prst="rect">
            <a:avLst/>
          </a:prstGeom>
          <a:noFill/>
        </p:spPr>
        <p:txBody>
          <a:bodyPr wrap="none" rtlCol="0">
            <a:spAutoFit/>
          </a:bodyPr>
          <a:lstStyle/>
          <a:p>
            <a:r>
              <a:rPr lang="ru-RU" sz="800" i="1" dirty="0" smtClean="0">
                <a:latin typeface="Tahoma" panose="020B0604030504040204" pitchFamily="34" charset="0"/>
                <a:ea typeface="Tahoma" panose="020B0604030504040204" pitchFamily="34" charset="0"/>
                <a:cs typeface="Tahoma" panose="020B0604030504040204" pitchFamily="34" charset="0"/>
              </a:rPr>
              <a:t>**по </a:t>
            </a:r>
            <a:r>
              <a:rPr lang="ru-RU" sz="800" i="1" dirty="0">
                <a:latin typeface="Tahoma" panose="020B0604030504040204" pitchFamily="34" charset="0"/>
                <a:ea typeface="Tahoma" panose="020B0604030504040204" pitchFamily="34" charset="0"/>
                <a:cs typeface="Tahoma" panose="020B0604030504040204" pitchFamily="34" charset="0"/>
              </a:rPr>
              <a:t>состоянию на 31.</a:t>
            </a:r>
            <a:r>
              <a:rPr lang="en-US" sz="800" i="1" dirty="0">
                <a:latin typeface="Tahoma" panose="020B0604030504040204" pitchFamily="34" charset="0"/>
                <a:ea typeface="Tahoma" panose="020B0604030504040204" pitchFamily="34" charset="0"/>
                <a:cs typeface="Tahoma" panose="020B0604030504040204" pitchFamily="34" charset="0"/>
              </a:rPr>
              <a:t>08.</a:t>
            </a:r>
            <a:r>
              <a:rPr lang="ru-RU" sz="800" i="1" dirty="0">
                <a:latin typeface="Tahoma" panose="020B0604030504040204" pitchFamily="34" charset="0"/>
                <a:ea typeface="Tahoma" panose="020B0604030504040204" pitchFamily="34" charset="0"/>
                <a:cs typeface="Tahoma" panose="020B0604030504040204" pitchFamily="34" charset="0"/>
              </a:rPr>
              <a:t>2018</a:t>
            </a:r>
          </a:p>
        </p:txBody>
      </p:sp>
      <p:sp>
        <p:nvSpPr>
          <p:cNvPr id="10" name="Прямоугольник 9"/>
          <p:cNvSpPr/>
          <p:nvPr/>
        </p:nvSpPr>
        <p:spPr>
          <a:xfrm>
            <a:off x="7237385" y="899921"/>
            <a:ext cx="184730" cy="276999"/>
          </a:xfrm>
          <a:prstGeom prst="rect">
            <a:avLst/>
          </a:prstGeom>
        </p:spPr>
        <p:txBody>
          <a:bodyPr wrap="none">
            <a:spAutoFit/>
          </a:bodyPr>
          <a:lstStyle/>
          <a:p>
            <a:pPr algn="ctr">
              <a:defRPr sz="1200" b="0" i="0" u="none" strike="noStrike" kern="1200" spc="0" baseline="0">
                <a:solidFill>
                  <a:sysClr val="windowText" lastClr="000000">
                    <a:lumMod val="65000"/>
                    <a:lumOff val="35000"/>
                  </a:sysClr>
                </a:solidFill>
                <a:latin typeface="Tahoma" panose="020B0604030504040204" pitchFamily="34" charset="0"/>
                <a:ea typeface="Tahoma" panose="020B0604030504040204" pitchFamily="34" charset="0"/>
                <a:cs typeface="Tahoma" panose="020B0604030504040204" pitchFamily="34" charset="0"/>
              </a:defRPr>
            </a:pPr>
            <a:endParaRPr lang="ru-RU" sz="1200" b="1" dirty="0"/>
          </a:p>
        </p:txBody>
      </p:sp>
      <p:sp>
        <p:nvSpPr>
          <p:cNvPr id="11" name="TextBox 10"/>
          <p:cNvSpPr txBox="1"/>
          <p:nvPr/>
        </p:nvSpPr>
        <p:spPr>
          <a:xfrm>
            <a:off x="4759234" y="930137"/>
            <a:ext cx="4876666" cy="276999"/>
          </a:xfrm>
          <a:prstGeom prst="rect">
            <a:avLst/>
          </a:prstGeom>
          <a:solidFill>
            <a:schemeClr val="bg1">
              <a:lumMod val="95000"/>
            </a:schemeClr>
          </a:solidFill>
        </p:spPr>
        <p:txBody>
          <a:bodyPr wrap="square" rtlCol="0">
            <a:spAutoFit/>
          </a:bodyPr>
          <a:lstStyle>
            <a:defPPr>
              <a:defRPr lang="ru-RU"/>
            </a:defPPr>
            <a:lvl1pPr algn="ctr">
              <a:spcBef>
                <a:spcPts val="225"/>
              </a:spcBef>
              <a:spcAft>
                <a:spcPts val="554"/>
              </a:spcAft>
              <a:buClr>
                <a:srgbClr val="C8102E"/>
              </a:buClr>
              <a:buSzPct val="150000"/>
              <a:defRPr sz="1108" b="1"/>
            </a:lvl1pPr>
          </a:lstStyle>
          <a:p>
            <a:r>
              <a:rPr lang="ru-RU" sz="1200" dirty="0">
                <a:latin typeface="Tahoma" panose="020B0604030504040204" pitchFamily="34" charset="0"/>
                <a:ea typeface="Tahoma" panose="020B0604030504040204" pitchFamily="34" charset="0"/>
                <a:cs typeface="Tahoma" panose="020B0604030504040204" pitchFamily="34" charset="0"/>
              </a:rPr>
              <a:t>Доходность индексов*, 2012 - </a:t>
            </a:r>
            <a:r>
              <a:rPr lang="en-US" sz="1200" dirty="0">
                <a:latin typeface="Tahoma" panose="020B0604030504040204" pitchFamily="34" charset="0"/>
                <a:ea typeface="Tahoma" panose="020B0604030504040204" pitchFamily="34" charset="0"/>
                <a:cs typeface="Tahoma" panose="020B0604030504040204" pitchFamily="34" charset="0"/>
              </a:rPr>
              <a:t>11M</a:t>
            </a:r>
            <a:r>
              <a:rPr lang="ru-RU" sz="1200" dirty="0">
                <a:latin typeface="Tahoma" panose="020B0604030504040204" pitchFamily="34" charset="0"/>
                <a:ea typeface="Tahoma" panose="020B0604030504040204" pitchFamily="34" charset="0"/>
                <a:cs typeface="Tahoma" panose="020B0604030504040204" pitchFamily="34" charset="0"/>
              </a:rPr>
              <a:t> </a:t>
            </a:r>
            <a:r>
              <a:rPr lang="ru-RU" sz="1200" dirty="0" smtClean="0">
                <a:latin typeface="Tahoma" panose="020B0604030504040204" pitchFamily="34" charset="0"/>
                <a:ea typeface="Tahoma" panose="020B0604030504040204" pitchFamily="34" charset="0"/>
                <a:cs typeface="Tahoma" panose="020B0604030504040204" pitchFamily="34" charset="0"/>
              </a:rPr>
              <a:t>201</a:t>
            </a:r>
            <a:r>
              <a:rPr lang="en-US" sz="1200" dirty="0" smtClean="0">
                <a:latin typeface="Tahoma" panose="020B0604030504040204" pitchFamily="34" charset="0"/>
                <a:ea typeface="Tahoma" panose="020B0604030504040204" pitchFamily="34" charset="0"/>
                <a:cs typeface="Tahoma" panose="020B0604030504040204" pitchFamily="34" charset="0"/>
              </a:rPr>
              <a:t>8</a:t>
            </a:r>
          </a:p>
        </p:txBody>
      </p:sp>
      <p:graphicFrame>
        <p:nvGraphicFramePr>
          <p:cNvPr id="12" name="Диаграмма 11" title="Доходность индексов, 2012 - 1H 2018"/>
          <p:cNvGraphicFramePr>
            <a:graphicFrameLocks/>
          </p:cNvGraphicFramePr>
          <p:nvPr>
            <p:extLst>
              <p:ext uri="{D42A27DB-BD31-4B8C-83A1-F6EECF244321}">
                <p14:modId xmlns:p14="http://schemas.microsoft.com/office/powerpoint/2010/main" val="290898624"/>
              </p:ext>
            </p:extLst>
          </p:nvPr>
        </p:nvGraphicFramePr>
        <p:xfrm>
          <a:off x="4628605" y="1091920"/>
          <a:ext cx="5172890" cy="273860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p:cNvSpPr txBox="1"/>
          <p:nvPr/>
        </p:nvSpPr>
        <p:spPr>
          <a:xfrm>
            <a:off x="7816137" y="3764463"/>
            <a:ext cx="1819762" cy="18949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800" b="0" i="1" dirty="0"/>
              <a:t>* в % к начальной дате</a:t>
            </a:r>
            <a:r>
              <a:rPr lang="ru-RU" sz="800" b="0" i="1" baseline="0" dirty="0"/>
              <a:t> </a:t>
            </a:r>
            <a:r>
              <a:rPr lang="ru-RU" sz="800" b="0" i="1" dirty="0"/>
              <a:t> 30.12.2011</a:t>
            </a:r>
          </a:p>
        </p:txBody>
      </p:sp>
      <p:sp>
        <p:nvSpPr>
          <p:cNvPr id="14" name="Номер слайда 2"/>
          <p:cNvSpPr txBox="1">
            <a:spLocks/>
          </p:cNvSpPr>
          <p:nvPr/>
        </p:nvSpPr>
        <p:spPr>
          <a:xfrm>
            <a:off x="9239400" y="6344400"/>
            <a:ext cx="390000" cy="360000"/>
          </a:xfrm>
          <a:prstGeom prst="rect">
            <a:avLst/>
          </a:prstGeom>
        </p:spPr>
        <p:txBody>
          <a:bodyPr vert="horz" lIns="91440" tIns="45720" rIns="0" bIns="0" rtlCol="0" anchor="ctr"/>
          <a:lstStyle>
            <a:defPPr>
              <a:defRPr lang="ru-RU"/>
            </a:defPPr>
            <a:lvl1pPr marL="0" algn="r" defTabSz="914400" rtl="0" eaLnBrk="1" latinLnBrk="0" hangingPunct="1">
              <a:defRPr sz="975" kern="1200">
                <a:solidFill>
                  <a:schemeClr val="tx1">
                    <a:tint val="75000"/>
                  </a:schemeClr>
                </a:solidFill>
                <a:latin typeface="+mj-lt"/>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smtClean="0">
                <a:solidFill>
                  <a:srgbClr val="000000">
                    <a:tint val="75000"/>
                  </a:srgbClr>
                </a:solidFill>
              </a:rPr>
              <a:t>8</a:t>
            </a:r>
            <a:endParaRPr lang="ru-RU" dirty="0">
              <a:solidFill>
                <a:srgbClr val="000000">
                  <a:tint val="75000"/>
                </a:srgbClr>
              </a:solidFill>
            </a:endParaRPr>
          </a:p>
        </p:txBody>
      </p:sp>
    </p:spTree>
    <p:extLst>
      <p:ext uri="{BB962C8B-B14F-4D97-AF65-F5344CB8AC3E}">
        <p14:creationId xmlns:p14="http://schemas.microsoft.com/office/powerpoint/2010/main" val="19639330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Заголовок 1"/>
          <p:cNvSpPr>
            <a:spLocks noGrp="1"/>
          </p:cNvSpPr>
          <p:nvPr>
            <p:ph type="title"/>
          </p:nvPr>
        </p:nvSpPr>
        <p:spPr>
          <a:xfrm>
            <a:off x="1195204" y="275697"/>
            <a:ext cx="8281796" cy="670196"/>
          </a:xfrm>
        </p:spPr>
        <p:txBody>
          <a:bodyPr/>
          <a:lstStyle/>
          <a:p>
            <a:r>
              <a:rPr lang="ru-RU" sz="1800" dirty="0"/>
              <a:t>ИНДЕКС-МЕНЕДЖМЕНТ МОСКОВСКОЙ </a:t>
            </a:r>
            <a:r>
              <a:rPr lang="ru-RU" sz="1800" dirty="0" smtClean="0"/>
              <a:t>БИРЖИ – 147 индикатор </a:t>
            </a:r>
            <a:endParaRPr lang="ru-RU" sz="1800" dirty="0"/>
          </a:p>
        </p:txBody>
      </p:sp>
      <p:sp>
        <p:nvSpPr>
          <p:cNvPr id="5" name="Параллелограмм 4"/>
          <p:cNvSpPr/>
          <p:nvPr/>
        </p:nvSpPr>
        <p:spPr>
          <a:xfrm>
            <a:off x="3629956" y="5143714"/>
            <a:ext cx="5996642" cy="1133594"/>
          </a:xfrm>
          <a:prstGeom prst="parallelogram">
            <a:avLst/>
          </a:prstGeom>
          <a:solidFill>
            <a:srgbClr val="51626F">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Параллелограмм 5"/>
          <p:cNvSpPr/>
          <p:nvPr/>
        </p:nvSpPr>
        <p:spPr>
          <a:xfrm>
            <a:off x="3629956" y="4078376"/>
            <a:ext cx="5996642" cy="987450"/>
          </a:xfrm>
          <a:prstGeom prst="parallelogram">
            <a:avLst/>
          </a:prstGeom>
          <a:solidFill>
            <a:srgbClr val="51626F">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7" name="Группа 6"/>
          <p:cNvGrpSpPr/>
          <p:nvPr/>
        </p:nvGrpSpPr>
        <p:grpSpPr>
          <a:xfrm>
            <a:off x="1437543" y="3372123"/>
            <a:ext cx="2227697" cy="291364"/>
            <a:chOff x="5786490" y="1556092"/>
            <a:chExt cx="2913088" cy="291364"/>
          </a:xfrm>
        </p:grpSpPr>
        <p:sp>
          <p:nvSpPr>
            <p:cNvPr id="8" name="TextBox 7"/>
            <p:cNvSpPr txBox="1"/>
            <p:nvPr/>
          </p:nvSpPr>
          <p:spPr>
            <a:xfrm>
              <a:off x="5786490" y="1574713"/>
              <a:ext cx="2913088" cy="261610"/>
            </a:xfrm>
            <a:prstGeom prst="rect">
              <a:avLst/>
            </a:prstGeom>
            <a:noFill/>
          </p:spPr>
          <p:txBody>
            <a:bodyPr wrap="square" rtlCol="0">
              <a:spAutoFit/>
            </a:bodyPr>
            <a:lstStyle/>
            <a:p>
              <a:pPr algn="ctr">
                <a:defRPr/>
              </a:pPr>
              <a:r>
                <a:rPr lang="ru-RU" sz="1100" b="1" kern="0" dirty="0">
                  <a:solidFill>
                    <a:srgbClr val="51626F">
                      <a:lumMod val="75000"/>
                    </a:srgbClr>
                  </a:solidFill>
                </a:rPr>
                <a:t>ВАЛЮТНЫЙ РЫНОК</a:t>
              </a:r>
            </a:p>
          </p:txBody>
        </p:sp>
        <p:cxnSp>
          <p:nvCxnSpPr>
            <p:cNvPr id="9" name="Прямая соединительная линия 8"/>
            <p:cNvCxnSpPr/>
            <p:nvPr/>
          </p:nvCxnSpPr>
          <p:spPr>
            <a:xfrm>
              <a:off x="5902239" y="1847456"/>
              <a:ext cx="2695974" cy="0"/>
            </a:xfrm>
            <a:prstGeom prst="line">
              <a:avLst/>
            </a:prstGeom>
            <a:noFill/>
            <a:ln w="9525" cap="flat" cmpd="sng" algn="ctr">
              <a:solidFill>
                <a:srgbClr val="616365">
                  <a:lumMod val="75000"/>
                </a:srgbClr>
              </a:solidFill>
              <a:prstDash val="solid"/>
            </a:ln>
            <a:effectLst/>
          </p:spPr>
        </p:cxnSp>
        <p:cxnSp>
          <p:nvCxnSpPr>
            <p:cNvPr id="10" name="Прямая соединительная линия 9"/>
            <p:cNvCxnSpPr/>
            <p:nvPr/>
          </p:nvCxnSpPr>
          <p:spPr>
            <a:xfrm>
              <a:off x="5915342" y="1556092"/>
              <a:ext cx="2695974" cy="0"/>
            </a:xfrm>
            <a:prstGeom prst="line">
              <a:avLst/>
            </a:prstGeom>
            <a:noFill/>
            <a:ln w="9525" cap="flat" cmpd="sng" algn="ctr">
              <a:solidFill>
                <a:srgbClr val="616365">
                  <a:lumMod val="75000"/>
                </a:srgbClr>
              </a:solidFill>
              <a:prstDash val="solid"/>
            </a:ln>
            <a:effectLst/>
          </p:spPr>
        </p:cxnSp>
      </p:grpSp>
      <p:sp>
        <p:nvSpPr>
          <p:cNvPr id="11" name="Параллелограмм 10"/>
          <p:cNvSpPr/>
          <p:nvPr/>
        </p:nvSpPr>
        <p:spPr>
          <a:xfrm>
            <a:off x="3629956" y="2887974"/>
            <a:ext cx="5996642" cy="1083837"/>
          </a:xfrm>
          <a:prstGeom prst="parallelogram">
            <a:avLst/>
          </a:prstGeom>
          <a:solidFill>
            <a:srgbClr val="51626F">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араллелограмм 11"/>
          <p:cNvSpPr/>
          <p:nvPr/>
        </p:nvSpPr>
        <p:spPr>
          <a:xfrm>
            <a:off x="3629956" y="805293"/>
            <a:ext cx="5996642" cy="1972610"/>
          </a:xfrm>
          <a:prstGeom prst="parallelogram">
            <a:avLst/>
          </a:prstGeom>
          <a:solidFill>
            <a:srgbClr val="51626F">
              <a:alpha val="8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4169296" y="1002906"/>
            <a:ext cx="1872208" cy="1138335"/>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defRPr/>
            </a:pPr>
            <a:r>
              <a:rPr lang="ru-RU" sz="1200" b="1" kern="0" dirty="0">
                <a:solidFill>
                  <a:srgbClr val="C8102E">
                    <a:lumMod val="75000"/>
                  </a:srgbClr>
                </a:solidFill>
              </a:rPr>
              <a:t>ИНДЕКСЫ АКЦИЙ</a:t>
            </a:r>
          </a:p>
          <a:p>
            <a:pPr algn="ctr">
              <a:defRPr/>
            </a:pPr>
            <a:r>
              <a:rPr lang="ru-RU" sz="1000" kern="0" dirty="0"/>
              <a:t>36 индексов акций  в зависимости от ликвидности, сектора  </a:t>
            </a:r>
            <a:endParaRPr lang="ru-RU" sz="500" kern="0" dirty="0"/>
          </a:p>
        </p:txBody>
      </p:sp>
      <p:sp>
        <p:nvSpPr>
          <p:cNvPr id="15" name="Скругленный прямоугольник 14"/>
          <p:cNvSpPr/>
          <p:nvPr/>
        </p:nvSpPr>
        <p:spPr>
          <a:xfrm>
            <a:off x="6185519" y="1002904"/>
            <a:ext cx="2698857" cy="1138337"/>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r>
              <a:rPr lang="ru-RU" sz="1200" b="1" kern="0" dirty="0">
                <a:solidFill>
                  <a:srgbClr val="C8102E">
                    <a:lumMod val="75000"/>
                  </a:srgbClr>
                </a:solidFill>
              </a:rPr>
              <a:t>ИНДЕКСЫ ОБЛИГАЦИЙ</a:t>
            </a:r>
          </a:p>
          <a:p>
            <a:pPr algn="ctr"/>
            <a:r>
              <a:rPr lang="ru-RU" sz="1000" kern="0" dirty="0"/>
              <a:t>72 индекса облигаций в зависимости от дюрации, кредитного качества и котировального уровня</a:t>
            </a:r>
            <a:endParaRPr lang="ru-RU" sz="1200" kern="0" dirty="0">
              <a:solidFill>
                <a:srgbClr val="C8102E">
                  <a:lumMod val="75000"/>
                </a:srgbClr>
              </a:solidFill>
            </a:endParaRPr>
          </a:p>
        </p:txBody>
      </p:sp>
      <p:grpSp>
        <p:nvGrpSpPr>
          <p:cNvPr id="16" name="Группа 15"/>
          <p:cNvGrpSpPr/>
          <p:nvPr/>
        </p:nvGrpSpPr>
        <p:grpSpPr>
          <a:xfrm>
            <a:off x="1437544" y="1489836"/>
            <a:ext cx="2227697" cy="291364"/>
            <a:chOff x="5786490" y="1556092"/>
            <a:chExt cx="2913088" cy="291364"/>
          </a:xfrm>
        </p:grpSpPr>
        <p:sp>
          <p:nvSpPr>
            <p:cNvPr id="17" name="TextBox 16"/>
            <p:cNvSpPr txBox="1"/>
            <p:nvPr/>
          </p:nvSpPr>
          <p:spPr>
            <a:xfrm>
              <a:off x="5786490" y="1574713"/>
              <a:ext cx="2913088" cy="261610"/>
            </a:xfrm>
            <a:prstGeom prst="rect">
              <a:avLst/>
            </a:prstGeom>
            <a:noFill/>
          </p:spPr>
          <p:txBody>
            <a:bodyPr wrap="square" rtlCol="0">
              <a:spAutoFit/>
            </a:bodyPr>
            <a:lstStyle/>
            <a:p>
              <a:pPr algn="ctr">
                <a:defRPr/>
              </a:pPr>
              <a:r>
                <a:rPr lang="ru-RU" sz="1100" b="1" kern="0" dirty="0">
                  <a:solidFill>
                    <a:srgbClr val="51626F">
                      <a:lumMod val="75000"/>
                    </a:srgbClr>
                  </a:solidFill>
                </a:rPr>
                <a:t>ФОНДОВЫЙ РЫНОК</a:t>
              </a:r>
            </a:p>
          </p:txBody>
        </p:sp>
        <p:cxnSp>
          <p:nvCxnSpPr>
            <p:cNvPr id="18" name="Прямая соединительная линия 17"/>
            <p:cNvCxnSpPr/>
            <p:nvPr/>
          </p:nvCxnSpPr>
          <p:spPr>
            <a:xfrm>
              <a:off x="5902239" y="1847456"/>
              <a:ext cx="2695974" cy="0"/>
            </a:xfrm>
            <a:prstGeom prst="line">
              <a:avLst/>
            </a:prstGeom>
            <a:noFill/>
            <a:ln w="9525" cap="flat" cmpd="sng" algn="ctr">
              <a:solidFill>
                <a:srgbClr val="616365">
                  <a:lumMod val="75000"/>
                </a:srgbClr>
              </a:solidFill>
              <a:prstDash val="solid"/>
            </a:ln>
            <a:effectLst/>
          </p:spPr>
        </p:cxnSp>
        <p:cxnSp>
          <p:nvCxnSpPr>
            <p:cNvPr id="19" name="Прямая соединительная линия 18"/>
            <p:cNvCxnSpPr/>
            <p:nvPr/>
          </p:nvCxnSpPr>
          <p:spPr>
            <a:xfrm>
              <a:off x="5915342" y="1556092"/>
              <a:ext cx="2695974" cy="0"/>
            </a:xfrm>
            <a:prstGeom prst="line">
              <a:avLst/>
            </a:prstGeom>
            <a:noFill/>
            <a:ln w="9525" cap="flat" cmpd="sng" algn="ctr">
              <a:solidFill>
                <a:srgbClr val="616365">
                  <a:lumMod val="75000"/>
                </a:srgbClr>
              </a:solidFill>
              <a:prstDash val="solid"/>
            </a:ln>
            <a:effectLst/>
          </p:spPr>
        </p:cxnSp>
      </p:grpSp>
      <p:sp>
        <p:nvSpPr>
          <p:cNvPr id="20" name="Скругленный прямоугольник 19"/>
          <p:cNvSpPr/>
          <p:nvPr/>
        </p:nvSpPr>
        <p:spPr>
          <a:xfrm>
            <a:off x="4961384" y="1853209"/>
            <a:ext cx="3312368" cy="792088"/>
          </a:xfrm>
          <a:prstGeom prst="roundRect">
            <a:avLst>
              <a:gd name="adj" fmla="val 6524"/>
            </a:avLst>
          </a:prstGeom>
          <a:solidFill>
            <a:srgbClr val="C00000">
              <a:alpha val="29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defRPr/>
            </a:pPr>
            <a:r>
              <a:rPr lang="ru-RU" sz="1200" b="1" kern="0" dirty="0">
                <a:solidFill>
                  <a:schemeClr val="bg1"/>
                </a:solidFill>
              </a:rPr>
              <a:t>Индексы активов пенсионных накоплений</a:t>
            </a:r>
          </a:p>
          <a:p>
            <a:pPr algn="ctr">
              <a:defRPr/>
            </a:pPr>
            <a:endParaRPr lang="ru-RU" sz="1000" kern="0" dirty="0"/>
          </a:p>
          <a:p>
            <a:pPr algn="ctr">
              <a:defRPr/>
            </a:pPr>
            <a:r>
              <a:rPr lang="ru-RU" sz="1000" kern="0" dirty="0">
                <a:solidFill>
                  <a:schemeClr val="bg1"/>
                </a:solidFill>
              </a:rPr>
              <a:t>3 индекса с учетом стратегии инвестирования</a:t>
            </a:r>
          </a:p>
        </p:txBody>
      </p:sp>
      <p:sp>
        <p:nvSpPr>
          <p:cNvPr id="21" name="Скругленный прямоугольник 20"/>
          <p:cNvSpPr/>
          <p:nvPr/>
        </p:nvSpPr>
        <p:spPr>
          <a:xfrm>
            <a:off x="4207396" y="3036504"/>
            <a:ext cx="1872208" cy="789315"/>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defRPr/>
            </a:pPr>
            <a:r>
              <a:rPr lang="ru-RU" sz="1200" b="1" kern="0" dirty="0">
                <a:solidFill>
                  <a:srgbClr val="C8102E">
                    <a:lumMod val="75000"/>
                  </a:srgbClr>
                </a:solidFill>
              </a:rPr>
              <a:t>ФИКСИНГИ</a:t>
            </a:r>
          </a:p>
          <a:p>
            <a:pPr algn="ctr">
              <a:defRPr/>
            </a:pPr>
            <a:endParaRPr lang="ru-RU" sz="1200" b="1" kern="0" dirty="0">
              <a:solidFill>
                <a:srgbClr val="C8102E">
                  <a:lumMod val="75000"/>
                </a:srgbClr>
              </a:solidFill>
            </a:endParaRPr>
          </a:p>
          <a:p>
            <a:pPr algn="ctr">
              <a:defRPr/>
            </a:pPr>
            <a:r>
              <a:rPr lang="ru-RU" sz="1000" kern="0" dirty="0"/>
              <a:t>4 фиксинга в зависимости от валютной пары</a:t>
            </a:r>
            <a:endParaRPr lang="ru-RU" sz="500" kern="0" dirty="0"/>
          </a:p>
        </p:txBody>
      </p:sp>
      <p:sp>
        <p:nvSpPr>
          <p:cNvPr id="22" name="Скругленный прямоугольник 21"/>
          <p:cNvSpPr/>
          <p:nvPr/>
        </p:nvSpPr>
        <p:spPr>
          <a:xfrm>
            <a:off x="6223619" y="3036503"/>
            <a:ext cx="2698856" cy="789315"/>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r>
              <a:rPr lang="ru-RU" sz="1200" b="1" kern="0" dirty="0">
                <a:solidFill>
                  <a:srgbClr val="C8102E">
                    <a:lumMod val="75000"/>
                  </a:srgbClr>
                </a:solidFill>
              </a:rPr>
              <a:t>ИНДИКАТОРЫ ПО ОПЕРАЦИЯМ СВОП</a:t>
            </a:r>
            <a:endParaRPr lang="ru-RU" sz="1000" kern="0" dirty="0"/>
          </a:p>
          <a:p>
            <a:pPr algn="ctr"/>
            <a:r>
              <a:rPr lang="ru-RU" sz="1000" kern="0" dirty="0"/>
              <a:t>12 индикаторов по сроку расчета и валютной пары</a:t>
            </a:r>
            <a:endParaRPr lang="ru-RU" sz="1200" kern="0" dirty="0">
              <a:solidFill>
                <a:srgbClr val="C8102E">
                  <a:lumMod val="75000"/>
                </a:srgbClr>
              </a:solidFill>
            </a:endParaRPr>
          </a:p>
        </p:txBody>
      </p:sp>
      <p:grpSp>
        <p:nvGrpSpPr>
          <p:cNvPr id="23" name="Группа 22"/>
          <p:cNvGrpSpPr/>
          <p:nvPr/>
        </p:nvGrpSpPr>
        <p:grpSpPr>
          <a:xfrm>
            <a:off x="1453063" y="4378179"/>
            <a:ext cx="2227697" cy="291364"/>
            <a:chOff x="5786490" y="1556092"/>
            <a:chExt cx="2913088" cy="291364"/>
          </a:xfrm>
        </p:grpSpPr>
        <p:sp>
          <p:nvSpPr>
            <p:cNvPr id="24" name="TextBox 23"/>
            <p:cNvSpPr txBox="1"/>
            <p:nvPr/>
          </p:nvSpPr>
          <p:spPr>
            <a:xfrm>
              <a:off x="5786490" y="1574713"/>
              <a:ext cx="2913088" cy="261610"/>
            </a:xfrm>
            <a:prstGeom prst="rect">
              <a:avLst/>
            </a:prstGeom>
            <a:noFill/>
          </p:spPr>
          <p:txBody>
            <a:bodyPr wrap="square" rtlCol="0">
              <a:spAutoFit/>
            </a:bodyPr>
            <a:lstStyle/>
            <a:p>
              <a:pPr algn="ctr">
                <a:defRPr/>
              </a:pPr>
              <a:r>
                <a:rPr lang="ru-RU" sz="1100" b="1" kern="0" dirty="0">
                  <a:solidFill>
                    <a:srgbClr val="51626F">
                      <a:lumMod val="75000"/>
                    </a:srgbClr>
                  </a:solidFill>
                </a:rPr>
                <a:t>СРОЧНЫЙ РЫНОК</a:t>
              </a:r>
            </a:p>
          </p:txBody>
        </p:sp>
        <p:cxnSp>
          <p:nvCxnSpPr>
            <p:cNvPr id="25" name="Прямая соединительная линия 24"/>
            <p:cNvCxnSpPr/>
            <p:nvPr/>
          </p:nvCxnSpPr>
          <p:spPr>
            <a:xfrm>
              <a:off x="5902239" y="1847456"/>
              <a:ext cx="2695974" cy="0"/>
            </a:xfrm>
            <a:prstGeom prst="line">
              <a:avLst/>
            </a:prstGeom>
            <a:noFill/>
            <a:ln w="9525" cap="flat" cmpd="sng" algn="ctr">
              <a:solidFill>
                <a:srgbClr val="616365">
                  <a:lumMod val="75000"/>
                </a:srgbClr>
              </a:solidFill>
              <a:prstDash val="solid"/>
            </a:ln>
            <a:effectLst/>
          </p:spPr>
        </p:cxnSp>
        <p:cxnSp>
          <p:nvCxnSpPr>
            <p:cNvPr id="26" name="Прямая соединительная линия 25"/>
            <p:cNvCxnSpPr/>
            <p:nvPr/>
          </p:nvCxnSpPr>
          <p:spPr>
            <a:xfrm>
              <a:off x="5915342" y="1556092"/>
              <a:ext cx="2695974" cy="0"/>
            </a:xfrm>
            <a:prstGeom prst="line">
              <a:avLst/>
            </a:prstGeom>
            <a:noFill/>
            <a:ln w="9525" cap="flat" cmpd="sng" algn="ctr">
              <a:solidFill>
                <a:srgbClr val="616365">
                  <a:lumMod val="75000"/>
                </a:srgbClr>
              </a:solidFill>
              <a:prstDash val="solid"/>
            </a:ln>
            <a:effectLst/>
          </p:spPr>
        </p:cxnSp>
      </p:grpSp>
      <p:sp>
        <p:nvSpPr>
          <p:cNvPr id="27" name="Скругленный прямоугольник 26"/>
          <p:cNvSpPr/>
          <p:nvPr/>
        </p:nvSpPr>
        <p:spPr>
          <a:xfrm>
            <a:off x="5325946" y="4268143"/>
            <a:ext cx="3091822" cy="610359"/>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defRPr/>
            </a:pPr>
            <a:r>
              <a:rPr lang="ru-RU" sz="1200" b="1" kern="0" dirty="0">
                <a:solidFill>
                  <a:srgbClr val="C8102E">
                    <a:lumMod val="75000"/>
                  </a:srgbClr>
                </a:solidFill>
              </a:rPr>
              <a:t>ИНДЕКС ВОЛАТИЛЬНОСТИ</a:t>
            </a:r>
          </a:p>
          <a:p>
            <a:pPr algn="ctr">
              <a:defRPr/>
            </a:pPr>
            <a:r>
              <a:rPr lang="ru-RU" sz="1000" kern="0" dirty="0"/>
              <a:t>основан на волатильности фактических цен опционов на Индекс РТС</a:t>
            </a:r>
          </a:p>
          <a:p>
            <a:pPr algn="ctr">
              <a:defRPr/>
            </a:pPr>
            <a:endParaRPr lang="ru-RU" sz="500" kern="0" dirty="0"/>
          </a:p>
        </p:txBody>
      </p:sp>
      <p:grpSp>
        <p:nvGrpSpPr>
          <p:cNvPr id="28" name="Группа 27"/>
          <p:cNvGrpSpPr/>
          <p:nvPr/>
        </p:nvGrpSpPr>
        <p:grpSpPr>
          <a:xfrm>
            <a:off x="1453063" y="5486279"/>
            <a:ext cx="2227697" cy="291364"/>
            <a:chOff x="5786490" y="1556092"/>
            <a:chExt cx="2913088" cy="291364"/>
          </a:xfrm>
        </p:grpSpPr>
        <p:sp>
          <p:nvSpPr>
            <p:cNvPr id="29" name="TextBox 28"/>
            <p:cNvSpPr txBox="1"/>
            <p:nvPr/>
          </p:nvSpPr>
          <p:spPr>
            <a:xfrm>
              <a:off x="5786490" y="1574713"/>
              <a:ext cx="2913088" cy="261610"/>
            </a:xfrm>
            <a:prstGeom prst="rect">
              <a:avLst/>
            </a:prstGeom>
            <a:noFill/>
          </p:spPr>
          <p:txBody>
            <a:bodyPr wrap="square" rtlCol="0">
              <a:spAutoFit/>
            </a:bodyPr>
            <a:lstStyle/>
            <a:p>
              <a:pPr algn="ctr">
                <a:defRPr/>
              </a:pPr>
              <a:r>
                <a:rPr lang="ru-RU" sz="1100" b="1" kern="0" dirty="0">
                  <a:solidFill>
                    <a:srgbClr val="51626F">
                      <a:lumMod val="75000"/>
                    </a:srgbClr>
                  </a:solidFill>
                </a:rPr>
                <a:t>ДЕНЕЖНЫЙ РЫНОК</a:t>
              </a:r>
            </a:p>
          </p:txBody>
        </p:sp>
        <p:cxnSp>
          <p:nvCxnSpPr>
            <p:cNvPr id="30" name="Прямая соединительная линия 29"/>
            <p:cNvCxnSpPr/>
            <p:nvPr/>
          </p:nvCxnSpPr>
          <p:spPr>
            <a:xfrm>
              <a:off x="5902239" y="1847456"/>
              <a:ext cx="2695974" cy="0"/>
            </a:xfrm>
            <a:prstGeom prst="line">
              <a:avLst/>
            </a:prstGeom>
            <a:noFill/>
            <a:ln w="9525" cap="flat" cmpd="sng" algn="ctr">
              <a:solidFill>
                <a:srgbClr val="616365">
                  <a:lumMod val="75000"/>
                </a:srgbClr>
              </a:solidFill>
              <a:prstDash val="solid"/>
            </a:ln>
            <a:effectLst/>
          </p:spPr>
        </p:cxnSp>
        <p:cxnSp>
          <p:nvCxnSpPr>
            <p:cNvPr id="31" name="Прямая соединительная линия 30"/>
            <p:cNvCxnSpPr/>
            <p:nvPr/>
          </p:nvCxnSpPr>
          <p:spPr>
            <a:xfrm>
              <a:off x="5915342" y="1556092"/>
              <a:ext cx="2695974" cy="0"/>
            </a:xfrm>
            <a:prstGeom prst="line">
              <a:avLst/>
            </a:prstGeom>
            <a:noFill/>
            <a:ln w="9525" cap="flat" cmpd="sng" algn="ctr">
              <a:solidFill>
                <a:srgbClr val="616365">
                  <a:lumMod val="75000"/>
                </a:srgbClr>
              </a:solidFill>
              <a:prstDash val="solid"/>
            </a:ln>
            <a:effectLst/>
          </p:spPr>
        </p:cxnSp>
      </p:grpSp>
      <p:sp>
        <p:nvSpPr>
          <p:cNvPr id="32" name="Скругленный прямоугольник 31"/>
          <p:cNvSpPr/>
          <p:nvPr/>
        </p:nvSpPr>
        <p:spPr>
          <a:xfrm>
            <a:off x="3910142" y="5234249"/>
            <a:ext cx="1728192" cy="930761"/>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defRPr/>
            </a:pPr>
            <a:r>
              <a:rPr lang="ru-RU" sz="1200" b="1" kern="0" dirty="0">
                <a:solidFill>
                  <a:srgbClr val="C8102E">
                    <a:lumMod val="75000"/>
                  </a:srgbClr>
                </a:solidFill>
              </a:rPr>
              <a:t>РЕПО С ЦК</a:t>
            </a:r>
          </a:p>
          <a:p>
            <a:pPr algn="ctr">
              <a:defRPr/>
            </a:pPr>
            <a:endParaRPr lang="ru-RU" sz="1200" b="1" kern="0" dirty="0">
              <a:solidFill>
                <a:srgbClr val="C8102E">
                  <a:lumMod val="75000"/>
                </a:srgbClr>
              </a:solidFill>
            </a:endParaRPr>
          </a:p>
          <a:p>
            <a:pPr algn="ctr">
              <a:defRPr/>
            </a:pPr>
            <a:r>
              <a:rPr lang="ru-RU" sz="1000" kern="0" dirty="0"/>
              <a:t>12 индикаторов по сроку и времени расчета, а также по инструментам </a:t>
            </a:r>
            <a:endParaRPr lang="ru-RU" sz="500" kern="0" dirty="0"/>
          </a:p>
        </p:txBody>
      </p:sp>
      <p:sp>
        <p:nvSpPr>
          <p:cNvPr id="33" name="Скругленный прямоугольник 32"/>
          <p:cNvSpPr/>
          <p:nvPr/>
        </p:nvSpPr>
        <p:spPr>
          <a:xfrm>
            <a:off x="5715849" y="5234250"/>
            <a:ext cx="2160241" cy="930760"/>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r>
              <a:rPr lang="ru-RU" sz="1200" b="1" kern="0" dirty="0">
                <a:solidFill>
                  <a:srgbClr val="C8102E">
                    <a:lumMod val="75000"/>
                  </a:srgbClr>
                </a:solidFill>
              </a:rPr>
              <a:t>МЕЖДИЛЕРСКОЕ</a:t>
            </a:r>
          </a:p>
          <a:p>
            <a:pPr algn="ctr"/>
            <a:r>
              <a:rPr lang="ru-RU" sz="1200" b="1" kern="0" dirty="0">
                <a:solidFill>
                  <a:srgbClr val="C8102E">
                    <a:lumMod val="75000"/>
                  </a:srgbClr>
                </a:solidFill>
              </a:rPr>
              <a:t>РЕПО</a:t>
            </a:r>
          </a:p>
          <a:p>
            <a:pPr algn="ctr"/>
            <a:r>
              <a:rPr lang="ru-RU" sz="1000" kern="0" dirty="0"/>
              <a:t>6 индикаторов по сроку и времени расчета, а также по инструментам</a:t>
            </a:r>
            <a:endParaRPr lang="ru-RU" sz="1200" b="1" kern="0" dirty="0">
              <a:solidFill>
                <a:srgbClr val="C8102E">
                  <a:lumMod val="75000"/>
                </a:srgbClr>
              </a:solidFill>
            </a:endParaRPr>
          </a:p>
        </p:txBody>
      </p:sp>
      <p:sp>
        <p:nvSpPr>
          <p:cNvPr id="34" name="Скругленный прямоугольник 33"/>
          <p:cNvSpPr/>
          <p:nvPr/>
        </p:nvSpPr>
        <p:spPr>
          <a:xfrm>
            <a:off x="7953603" y="5234250"/>
            <a:ext cx="1366326" cy="930760"/>
          </a:xfrm>
          <a:prstGeom prst="roundRect">
            <a:avLst>
              <a:gd name="adj" fmla="val 6524"/>
            </a:avLst>
          </a:prstGeom>
          <a:solidFill>
            <a:srgbClr val="5D4F4B">
              <a:lumMod val="20000"/>
              <a:lumOff val="80000"/>
            </a:srgbClr>
          </a:solidFill>
          <a:ln w="3175" cap="flat" cmpd="sng" algn="ctr">
            <a:solidFill>
              <a:srgbClr val="5D4F4B">
                <a:lumMod val="40000"/>
                <a:lumOff val="60000"/>
              </a:srgbClr>
            </a:solidFill>
            <a:prstDash val="solid"/>
          </a:ln>
          <a:effectLst>
            <a:outerShdw blurRad="50800" dist="38100" dir="2700000" algn="tl" rotWithShape="0">
              <a:prstClr val="black">
                <a:alpha val="40000"/>
              </a:prstClr>
            </a:outerShdw>
          </a:effectLst>
        </p:spPr>
        <p:txBody>
          <a:bodyPr rtlCol="0" anchor="t"/>
          <a:lstStyle/>
          <a:p>
            <a:pPr algn="ctr">
              <a:defRPr/>
            </a:pPr>
            <a:r>
              <a:rPr lang="ru-RU" sz="1200" b="1" kern="0" dirty="0">
                <a:solidFill>
                  <a:srgbClr val="C8102E">
                    <a:lumMod val="75000"/>
                  </a:srgbClr>
                </a:solidFill>
              </a:rPr>
              <a:t>КБД </a:t>
            </a:r>
          </a:p>
          <a:p>
            <a:pPr algn="ctr">
              <a:defRPr/>
            </a:pPr>
            <a:r>
              <a:rPr lang="ru-RU" sz="1000" kern="0" dirty="0"/>
              <a:t>кривая </a:t>
            </a:r>
          </a:p>
          <a:p>
            <a:pPr algn="ctr">
              <a:defRPr/>
            </a:pPr>
            <a:r>
              <a:rPr lang="ru-RU" sz="1000" kern="0" dirty="0"/>
              <a:t>бескупонной доходности гос. ЦБ</a:t>
            </a:r>
          </a:p>
        </p:txBody>
      </p:sp>
      <p:sp>
        <p:nvSpPr>
          <p:cNvPr id="35" name="Номер слайда 2"/>
          <p:cNvSpPr txBox="1">
            <a:spLocks/>
          </p:cNvSpPr>
          <p:nvPr/>
        </p:nvSpPr>
        <p:spPr>
          <a:xfrm>
            <a:off x="9239400" y="6344400"/>
            <a:ext cx="390000" cy="360000"/>
          </a:xfrm>
          <a:prstGeom prst="rect">
            <a:avLst/>
          </a:prstGeom>
        </p:spPr>
        <p:txBody>
          <a:bodyPr vert="horz" lIns="91440" tIns="45720" rIns="0" bIns="0" rtlCol="0" anchor="ctr"/>
          <a:lstStyle>
            <a:defPPr>
              <a:defRPr lang="ru-RU"/>
            </a:defPPr>
            <a:lvl1pPr marL="0" algn="r" defTabSz="914400" rtl="0" eaLnBrk="1" latinLnBrk="0" hangingPunct="1">
              <a:defRPr sz="975" kern="1200">
                <a:solidFill>
                  <a:schemeClr val="tx1">
                    <a:tint val="75000"/>
                  </a:schemeClr>
                </a:solidFill>
                <a:latin typeface="+mj-lt"/>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ru-RU" dirty="0" smtClean="0">
                <a:solidFill>
                  <a:srgbClr val="000000">
                    <a:tint val="75000"/>
                  </a:srgbClr>
                </a:solidFill>
              </a:rPr>
              <a:t>5</a:t>
            </a:r>
            <a:endParaRPr lang="ru-RU" dirty="0">
              <a:solidFill>
                <a:srgbClr val="000000">
                  <a:tint val="75000"/>
                </a:srgbClr>
              </a:solidFill>
            </a:endParaRPr>
          </a:p>
        </p:txBody>
      </p:sp>
    </p:spTree>
    <p:extLst>
      <p:ext uri="{BB962C8B-B14F-4D97-AF65-F5344CB8AC3E}">
        <p14:creationId xmlns:p14="http://schemas.microsoft.com/office/powerpoint/2010/main" val="4385419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Заголовок 7"/>
          <p:cNvSpPr>
            <a:spLocks noGrp="1"/>
          </p:cNvSpPr>
          <p:nvPr>
            <p:ph type="title"/>
          </p:nvPr>
        </p:nvSpPr>
        <p:spPr>
          <a:xfrm>
            <a:off x="3120000" y="612000"/>
            <a:ext cx="5850000" cy="4298667"/>
          </a:xfrm>
        </p:spPr>
        <p:txBody>
          <a:bodyPr/>
          <a:lstStyle/>
          <a:p>
            <a:r>
              <a:rPr lang="ru-RU" dirty="0" smtClean="0"/>
              <a:t/>
            </a:r>
            <a:br>
              <a:rPr lang="ru-RU" dirty="0" smtClean="0"/>
            </a:br>
            <a:r>
              <a:rPr lang="en-US" dirty="0"/>
              <a:t/>
            </a:r>
            <a:br>
              <a:rPr lang="en-US" dirty="0"/>
            </a:br>
            <a:r>
              <a:rPr lang="ru-RU" dirty="0" smtClean="0"/>
              <a:t/>
            </a:r>
            <a:br>
              <a:rPr lang="ru-RU" dirty="0" smtClean="0"/>
            </a:br>
            <a:r>
              <a:rPr lang="ru-RU" sz="2800" dirty="0" smtClean="0"/>
              <a:t>Спасибо за внимание!</a:t>
            </a:r>
            <a:br>
              <a:rPr lang="ru-RU" sz="2800" dirty="0" smtClean="0"/>
            </a:br>
            <a:r>
              <a:rPr lang="ru-RU" sz="2800" dirty="0"/>
              <a:t/>
            </a:r>
            <a:br>
              <a:rPr lang="ru-RU" sz="2800" dirty="0"/>
            </a:br>
            <a:r>
              <a:rPr lang="en-US" sz="2800" dirty="0"/>
              <a:t/>
            </a:r>
            <a:br>
              <a:rPr lang="en-US" sz="2800" dirty="0"/>
            </a:br>
            <a:endParaRPr lang="ru-RU" sz="2800" dirty="0"/>
          </a:p>
        </p:txBody>
      </p:sp>
    </p:spTree>
    <p:extLst>
      <p:ext uri="{BB962C8B-B14F-4D97-AF65-F5344CB8AC3E}">
        <p14:creationId xmlns:p14="http://schemas.microsoft.com/office/powerpoint/2010/main" val="30347368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x4F8h6QAuDH_OVDOsF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AXNZbFDSb6dhXG0XrxE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FOj2FBdTSGBFdij2wjN1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hxttAjtTzuO2eD_24KX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jHX9MkFSBGp1aWXsPzY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Agq2IGeRW2CYt96WBvG_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XPuBpW_QnS1gzHdBJjr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sDR.h7S2aRHF8fFuGH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Ak.TK6nQQW4jsAY6QkB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B1n28.iSIeD_UDBof4Sl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E.uCNClTLGl3LWYDKEv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8baQpTZjSde7P5AzyKEO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uuHlQK_Q02Vz8K9yx9M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38LDo5zQB.y_mMQgb95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XTpKnG3SU2twx6nDozd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ATwNCAeTNS9wrhKFuMS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AhHgeVWRB2EJHFfhq_Q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8mpH1Z2SbiCuky.iBDF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MauELqySxOCaqaJ7NIF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7x5sJD5Saquw0CahNul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sOXG6ZOxQaG_fSnmZqk_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JqGB0roR..Vrdp3oWf0e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zTJBLVbTbaE0Qml0H_k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kdmFi_LQ7ybLNt.20hp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32dVopsS5GL9zuPRQiK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iRR4U7hQWGOcNBRM2qK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AT2TT1qQ.uIKIIhje5F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hhFFspzRgmVefj3cOw.Y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kw8PlrrSryIXIGBCsnc2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YNWxbYkSvWkvYVyoNu70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s74RPFaSUSQH6rRDTUu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A6CXrt1R_KXlbZ3YTq3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E9tqHDEQiK2zJqSmdfv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JLBIHsGSjayRoLVyK4zb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cuWB9rbSAeRhkRTwV.r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sgbXJMNQAaqxTK9PSZ3V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52JJ1k0TU.UB_u.te5l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dgbmmcbR22f.usJjAeY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_QS0s3WTxu3tfuoVpOlx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Ea9RvCgQJO3y75eBwY.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zPTPIG.SJu_.xu5nkow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ySRcyp2QM6IheMwcJy6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ZFk36r_QA.Ql8X07Sd7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rTUJ5zTTQeGD51pAr8WK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EbVihv_TxCPqQNsceC5z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94SRE0AT4atUSHEwva._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s75qNglRhiHfMzhGHTL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tZHODDPtRjKQVXOLo2vua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Diz.HZR3ya8ySxEBqK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MGiXzedRD6CWuNVNRrG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IRK93H2QdivoZ1ZQdNo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yX1QGJ0QnWJVpBuXWqq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Eed.u8ORvS5O3tlWzEDb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kStwn3fR0m4Gsr02fD5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6.dAA7pTT2s9fCj696M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1EsauHHTpG1P98UVE4Wz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8aUX0E8T9eCz9mzFu.4h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I7lCXE4SNa6zOQ23QKq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UnrLH6oQYOv9ApWFbNM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66tEXvjSCKHP8ali8XB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1mkdrMYT2O7xGdPQIO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vM4DYYESQOZ1aKJIi_5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JlZCDJqQNKFgwsmjeap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2fsLft3DQSWbRoTsn4A4W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It_s5JZSzuyx400DHWh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Tfb0glUTGmlYnRY_wim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9nRoEoeTtSJlU6_dtocq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vQIXQemR26ddXN.CBoq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46PhW62kQNa_WBvwKDig_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v4W5kuMR8eXKjnLFUqi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hjYvnp8StmY9MkA2DRF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356AYJkT6GaRK4j5bXK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4U_0Yp4Q3SPNUkOPzjna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In3RA9xRW.rMSCVx6GF3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mCz6yYTRBawSRgmSdv_j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RVD8u2NSdqWE.e9kwCGK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gsmFAA8R1GIkacY7DWi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7Q.nM6.Sf2HdN3Ta.pw7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v.BZyxCSkGsZACUGP99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dFspK2zRPGz_GFKInXI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yElHb45ASoiW9kBDgrIw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8VGWnc8TTiwcH2weKqIx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8HAveUSTI2elbsTg4Kp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Tlp7jAnR3CF.F8cwfbL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77xnPifQym2ej0L0Fymj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rf36tbm7Q52JiSgvg5hY7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IFa_FRqRoSBjTUHXEXlu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DyXnPDoTpaA4e3VYRLKx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Wzq.lFsSgS4ivxnv7ao6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QjPluvmS3K_xKTFkQ7rm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8.86mLRTX.oxaJ2NEUs9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_Cpvm2pNRACRTrps65d_NA"/>
</p:tagLst>
</file>

<file path=ppt/theme/theme1.xml><?xml version="1.0" encoding="utf-8"?>
<a:theme xmlns:a="http://schemas.openxmlformats.org/drawingml/2006/main" name="5_ME-RU">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X_overviewvF_360T + FXall.pptx" id="{F1CAEBCA-6CD7-4319-93AF-15FE994A00DD}" vid="{6D4BEFD2-0EC0-4B84-9CAD-5D5A5FD86B0D}"/>
    </a:ext>
  </a:extLst>
</a:theme>
</file>

<file path=ppt/theme/theme2.xml><?xml version="1.0" encoding="utf-8"?>
<a:theme xmlns:a="http://schemas.openxmlformats.org/drawingml/2006/main" name="6_ME-RU">
  <a:themeElements>
    <a:clrScheme name="MOEX">
      <a:dk1>
        <a:srgbClr val="000000"/>
      </a:dk1>
      <a:lt1>
        <a:sysClr val="window" lastClr="FFFFFF"/>
      </a:lt1>
      <a:dk2>
        <a:srgbClr val="CCCCCC"/>
      </a:dk2>
      <a:lt2>
        <a:srgbClr val="E6E6E6"/>
      </a:lt2>
      <a:accent1>
        <a:srgbClr val="C8102E"/>
      </a:accent1>
      <a:accent2>
        <a:srgbClr val="CF7F7F"/>
      </a:accent2>
      <a:accent3>
        <a:srgbClr val="616365"/>
      </a:accent3>
      <a:accent4>
        <a:srgbClr val="51626F"/>
      </a:accent4>
      <a:accent5>
        <a:srgbClr val="6D6F64"/>
      </a:accent5>
      <a:accent6>
        <a:srgbClr val="5D4F4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FX_overviewvF_360T + FXall.pptx" id="{F1CAEBCA-6CD7-4319-93AF-15FE994A00DD}" vid="{6D4BEFD2-0EC0-4B84-9CAD-5D5A5FD86B0D}"/>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987</Words>
  <Application>Microsoft Office PowerPoint</Application>
  <PresentationFormat>Лист A4 (210x297 мм)</PresentationFormat>
  <Paragraphs>566</Paragraphs>
  <Slides>10</Slides>
  <Notes>2</Notes>
  <HiddenSlides>0</HiddenSlides>
  <MMClips>0</MMClips>
  <ScaleCrop>false</ScaleCrop>
  <HeadingPairs>
    <vt:vector size="8" baseType="variant">
      <vt:variant>
        <vt:lpstr>Использованные шрифты</vt:lpstr>
      </vt:variant>
      <vt:variant>
        <vt:i4>8</vt:i4>
      </vt:variant>
      <vt:variant>
        <vt:lpstr>Тема</vt:lpstr>
      </vt:variant>
      <vt:variant>
        <vt:i4>2</vt:i4>
      </vt:variant>
      <vt:variant>
        <vt:lpstr>Внедренные серверы OLE</vt:lpstr>
      </vt:variant>
      <vt:variant>
        <vt:i4>1</vt:i4>
      </vt:variant>
      <vt:variant>
        <vt:lpstr>Заголовки слайдов</vt:lpstr>
      </vt:variant>
      <vt:variant>
        <vt:i4>10</vt:i4>
      </vt:variant>
    </vt:vector>
  </HeadingPairs>
  <TitlesOfParts>
    <vt:vector size="21" baseType="lpstr">
      <vt:lpstr>ＭＳ Ｐゴシック</vt:lpstr>
      <vt:lpstr>Arial</vt:lpstr>
      <vt:lpstr>Calibri</vt:lpstr>
      <vt:lpstr>Courier New</vt:lpstr>
      <vt:lpstr>Tahoma</vt:lpstr>
      <vt:lpstr>Times New Roman</vt:lpstr>
      <vt:lpstr>Verdana</vt:lpstr>
      <vt:lpstr>Wingdings</vt:lpstr>
      <vt:lpstr>5_ME-RU</vt:lpstr>
      <vt:lpstr>6_ME-RU</vt:lpstr>
      <vt:lpstr>think-cell Slide</vt:lpstr>
      <vt:lpstr>Презентация PowerPoint</vt:lpstr>
      <vt:lpstr>МИРОВОЙ ТРЕНД – ПОВЫШЕНИЕ ИНТЕРЕСА К ИНВЕСТИЦИЯМ,  ОСНОВАННЫМ НА ПРИНЦИПАХ УСТОЙЧИВОГО РАЗВИТИЯ И КСО</vt:lpstr>
      <vt:lpstr>ЗАРУБЕЖНЫЕ ФИНАНСОВЫЕ РЫНКИ. ДОХОДНОСТЬ И МУЛЬТИПЛИКАТОРЫ КЛАССИЧЕСКИХ И ESG-ИНДЕКСОВ</vt:lpstr>
      <vt:lpstr>СОТРУДНИЧЕСТВО В ОБЛАСТИ УСТОЙЧИВОГО РАЗВИТИЯ </vt:lpstr>
      <vt:lpstr>ФОНДОВЫЙ индекс «Ответственность и открытость»</vt:lpstr>
      <vt:lpstr>ФОНДОВЫЙ ИНДЕКС «Вектор устойчивого развития»</vt:lpstr>
      <vt:lpstr>ДИНАМИКА ФОНДОВЫХ ИНДЕКСОВ УСТОЙЧИВОГО РАЗВИТИЯ </vt:lpstr>
      <vt:lpstr>ИНДЕКС-МЕНЕДЖМЕНТ МОСКОВСКОЙ БИРЖИ – 147 индикатор </vt:lpstr>
      <vt:lpstr>   Спасибо за внимание!   </vt:lpstr>
      <vt:lpstr>РАСКРЫТИЕ ИНФОРМАЦИИ</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11T10:19:00Z</dcterms:created>
  <dcterms:modified xsi:type="dcterms:W3CDTF">2018-12-07T14:47:01Z</dcterms:modified>
</cp:coreProperties>
</file>